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9" r:id="rId3"/>
    <p:sldMasterId id="2147483681" r:id="rId4"/>
  </p:sldMasterIdLst>
  <p:notesMasterIdLst>
    <p:notesMasterId r:id="rId29"/>
  </p:notesMasterIdLst>
  <p:sldIdLst>
    <p:sldId id="2147474350" r:id="rId5"/>
    <p:sldId id="261" r:id="rId6"/>
    <p:sldId id="256" r:id="rId7"/>
    <p:sldId id="365" r:id="rId8"/>
    <p:sldId id="366" r:id="rId9"/>
    <p:sldId id="367" r:id="rId10"/>
    <p:sldId id="361" r:id="rId11"/>
    <p:sldId id="2147474349" r:id="rId12"/>
    <p:sldId id="363" r:id="rId13"/>
    <p:sldId id="257" r:id="rId14"/>
    <p:sldId id="362" r:id="rId15"/>
    <p:sldId id="258" r:id="rId16"/>
    <p:sldId id="364" r:id="rId17"/>
    <p:sldId id="260" r:id="rId18"/>
    <p:sldId id="2147474345" r:id="rId19"/>
    <p:sldId id="259" r:id="rId20"/>
    <p:sldId id="263" r:id="rId21"/>
    <p:sldId id="264" r:id="rId22"/>
    <p:sldId id="265" r:id="rId23"/>
    <p:sldId id="266" r:id="rId24"/>
    <p:sldId id="267" r:id="rId25"/>
    <p:sldId id="2147474346" r:id="rId26"/>
    <p:sldId id="2147474347" r:id="rId27"/>
    <p:sldId id="2147474348" r:id="rId28"/>
  </p:sldIdLst>
  <p:sldSz cx="12192000" cy="6858000"/>
  <p:notesSz cx="6858000" cy="9144000"/>
  <p:custDataLst>
    <p:tags r:id="rId3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B90CF5-BFDA-4F3F-B69C-0512024B53D1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78EE2C-AB05-41C7-ABCF-BF9F22D6DD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532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78EE2C-AB05-41C7-ABCF-BF9F22D6DD2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248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78EE2C-AB05-41C7-ABCF-BF9F22D6DD2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9630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78EE2C-AB05-41C7-ABCF-BF9F22D6DD2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68201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78EE2C-AB05-41C7-ABCF-BF9F22D6DD2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8426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79450" y="742950"/>
            <a:ext cx="5435600" cy="30591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36356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78EE2C-AB05-41C7-ABCF-BF9F22D6DD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248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5667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321F9F-679E-D7FA-83A6-87A1AEA26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25D66A4-FC00-91FD-D78B-19AE05B19C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0B73468-9DAD-079E-147C-A89016CCF7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3F2D7BE-D072-358E-95A0-59BF4123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20D770-5638-92E2-DAFD-57B3995AB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768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17F114-7522-CBFD-AAC5-592F78167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F74E088-0AF7-333A-FE3D-37A6281803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043D037-B1E8-3AEC-AD72-71680D28C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AE2BE4-7655-580E-92B1-CA528EDAC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B989D1C-1E66-A262-3963-9000D04B6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1973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376DA0C-E6C5-0E73-0396-4CCBA77860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E9BF05C-96EA-D555-C76C-70AE064105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8442AA2-6E21-1303-B7D3-A5EFF313B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D37DF06-CD6E-3CDA-B895-741939AD2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32BBA98-46A9-0544-F8D5-5B1BA7E56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7394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9268C1-3555-40F0-9F50-FDE1FC183A0D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46153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a16="http://schemas.microsoft.com/office/drawing/2014/main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F33C267-8000-477D-991A-6C15839D7000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5098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DB9F33-836B-4915-B13C-79B01E209756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anuary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3607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8FAAE86-FF76-44CC-A668-018373AE554F}" type="datetime1">
              <a:rPr lang="en-US"/>
              <a:t>3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3090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7D638D7-8796-4CCC-8CE6-AEAD9E04E798}" type="datetime1">
              <a:rPr lang="en-US"/>
              <a:t>3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0805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D080DD9-49B8-4603-936C-6A08F0541BA0}" type="datetime1">
              <a:rPr lang="en-US"/>
              <a:t>3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3818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67E0C7B-342B-4B60-BBFA-D89E1406DD42}" type="datetime1">
              <a:rPr lang="en-US"/>
              <a:t>3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4253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0256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BBD11B-6C87-D3A1-5B3B-5EE25B81D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0796F04-4485-2BCA-ECAB-8243675F3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83CE97A-8F05-BF44-2CDE-44E8F3961A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ED078CC-3E84-02AE-57C4-C81C7C7AD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42095D7-E1AD-FC8D-508F-37F6D469A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27825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C9A96C-B18F-4A61-9FE9-4BC0ED17C09C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59917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4ACC3FA-741F-4DD7-A29C-E85845E74CE5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9847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09B50E6-EFC3-4D55-B5FD-6C07B3F1809C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4323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0EA7F3AE-922E-4A2E-A184-1A6BB453B592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6044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371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949" y="1138299"/>
            <a:ext cx="10799866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fld id="{F5D252DB-0ED2-464E-8741-6A8F1AFB279A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03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F3B6FA-5BE5-423F-AE86-D3FCA9B0BA1B}" type="datetime1">
              <a:rPr lang="en-US"/>
              <a:t>3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3127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4D65EF7-0DB8-46AD-91BA-1361F976A2E5}" type="datetime1">
              <a:rPr lang="en-US"/>
              <a:t>3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79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1DAC8AC-69B9-434F-A771-029EB0ECF11E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5131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76CC04-5BC7-4D90-881D-F4830D1A1CA8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5171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804E57-7BF7-4369-9EB4-F1EAB6B023F9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/>
              <a:t>Вставка рисунка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5863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BA90EC-8A10-5F19-B8F8-268A585A4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A463B9D-64EF-0901-124B-CD4D6EE58A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82AE242-0131-99AE-C129-45FAB1C72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3F9A776-19D2-30FC-A1D7-7B2090747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F8CF3D0-E932-EA87-0079-F014F282E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45395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AA48BB3E-A1F8-4F4B-BC11-253B6E0190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834" y="2317598"/>
            <a:ext cx="6184321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8754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>
            <a:extLst>
              <a:ext uri="{FF2B5EF4-FFF2-40B4-BE49-F238E27FC236}">
                <a16:creationId xmlns:a16="http://schemas.microsoft.com/office/drawing/2014/main" id="{74DEB4CA-F739-4333-9812-312D7447D6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93354" y="160"/>
            <a:ext cx="8198806" cy="6856953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 flipV="1">
            <a:off x="2" y="0"/>
            <a:ext cx="6048374" cy="6858000"/>
          </a:xfrm>
          <a:custGeom>
            <a:avLst/>
            <a:gdLst>
              <a:gd name="connsiteX0" fmla="*/ 0 w 6048375"/>
              <a:gd name="connsiteY0" fmla="*/ 6858000 h 6858000"/>
              <a:gd name="connsiteX1" fmla="*/ 4717143 w 6048375"/>
              <a:gd name="connsiteY1" fmla="*/ 6858000 h 6858000"/>
              <a:gd name="connsiteX2" fmla="*/ 6048375 w 6048375"/>
              <a:gd name="connsiteY2" fmla="*/ 6858000 h 6858000"/>
              <a:gd name="connsiteX3" fmla="*/ 4717143 w 6048375"/>
              <a:gd name="connsiteY3" fmla="*/ 1712 h 6858000"/>
              <a:gd name="connsiteX4" fmla="*/ 4717143 w 6048375"/>
              <a:gd name="connsiteY4" fmla="*/ 0 h 6858000"/>
              <a:gd name="connsiteX5" fmla="*/ 0 w 604837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858000">
                <a:moveTo>
                  <a:pt x="0" y="6858000"/>
                </a:moveTo>
                <a:lnTo>
                  <a:pt x="4717143" y="6858000"/>
                </a:lnTo>
                <a:lnTo>
                  <a:pt x="6048375" y="6858000"/>
                </a:lnTo>
                <a:lnTo>
                  <a:pt x="4717143" y="1712"/>
                </a:lnTo>
                <a:lnTo>
                  <a:pt x="4717143" y="0"/>
                </a:lnTo>
                <a:lnTo>
                  <a:pt x="0" y="0"/>
                </a:lnTo>
                <a:close/>
              </a:path>
            </a:pathLst>
          </a:custGeom>
          <a:solidFill>
            <a:srgbClr val="1038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7" tIns="45629" rIns="91257" bIns="45629" rtlCol="0" anchor="ctr"/>
          <a:lstStyle/>
          <a:p>
            <a:pPr algn="ctr" defTabSz="1218249"/>
            <a:endParaRPr lang="en-GB" sz="24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0359" y="1618745"/>
            <a:ext cx="4905682" cy="775504"/>
          </a:xfrm>
        </p:spPr>
        <p:txBody>
          <a:bodyPr anchor="b" anchorCtr="0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58248" y="2432993"/>
            <a:ext cx="3973508" cy="1655762"/>
          </a:xfrm>
        </p:spPr>
        <p:txBody>
          <a:bodyPr/>
          <a:lstStyle>
            <a:lvl1pPr marL="0" indent="0" algn="l">
              <a:buNone/>
              <a:defRPr sz="4800" i="1">
                <a:solidFill>
                  <a:schemeClr val="accent6"/>
                </a:solidFill>
              </a:defRPr>
            </a:lvl1pPr>
            <a:lvl2pPr marL="456693" indent="0" algn="ctr">
              <a:buNone/>
              <a:defRPr sz="2000"/>
            </a:lvl2pPr>
            <a:lvl3pPr marL="913291" indent="0" algn="ctr">
              <a:buNone/>
              <a:defRPr sz="1800"/>
            </a:lvl3pPr>
            <a:lvl4pPr marL="1369898" indent="0" algn="ctr">
              <a:buNone/>
              <a:defRPr sz="1600"/>
            </a:lvl4pPr>
            <a:lvl5pPr marL="1826533" indent="0" algn="ctr">
              <a:buNone/>
              <a:defRPr sz="1600"/>
            </a:lvl5pPr>
            <a:lvl6pPr marL="2283172" indent="0" algn="ctr">
              <a:buNone/>
              <a:defRPr sz="1600"/>
            </a:lvl6pPr>
            <a:lvl7pPr marL="2739803" indent="0" algn="ctr">
              <a:buNone/>
              <a:defRPr sz="1600"/>
            </a:lvl7pPr>
            <a:lvl8pPr marL="3196436" indent="0" algn="ctr">
              <a:buNone/>
              <a:defRPr sz="1600"/>
            </a:lvl8pPr>
            <a:lvl9pPr marL="3653076" indent="0" algn="ctr">
              <a:buNone/>
              <a:defRPr sz="1600"/>
            </a:lvl9pPr>
          </a:lstStyle>
          <a:p>
            <a:r>
              <a:rPr lang="en-US"/>
              <a:t>subtitle style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47" y="427911"/>
            <a:ext cx="828000" cy="828000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1248725" y="4732640"/>
            <a:ext cx="3684144" cy="69968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 marL="456693" indent="0">
              <a:buNone/>
              <a:defRPr sz="1400"/>
            </a:lvl2pPr>
            <a:lvl3pPr marL="913291" indent="0">
              <a:buNone/>
              <a:defRPr sz="1200"/>
            </a:lvl3pPr>
            <a:lvl4pPr marL="1369898" indent="0">
              <a:buNone/>
              <a:defRPr sz="1000"/>
            </a:lvl4pPr>
            <a:lvl5pPr marL="1826533" indent="0">
              <a:buNone/>
              <a:defRPr sz="1000"/>
            </a:lvl5pPr>
            <a:lvl6pPr marL="2283172" indent="0">
              <a:buNone/>
              <a:defRPr sz="1000"/>
            </a:lvl6pPr>
            <a:lvl7pPr marL="2739803" indent="0">
              <a:buNone/>
              <a:defRPr sz="1000"/>
            </a:lvl7pPr>
            <a:lvl8pPr marL="3196436" indent="0">
              <a:buNone/>
              <a:defRPr sz="1000"/>
            </a:lvl8pPr>
            <a:lvl9pPr marL="365307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8885" y="4427366"/>
            <a:ext cx="331200" cy="10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3077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917962" y="0"/>
            <a:ext cx="10274157" cy="6858000"/>
          </a:xfrm>
          <a:prstGeom prst="rect">
            <a:avLst/>
          </a:prstGeom>
        </p:spPr>
      </p:pic>
      <p:sp>
        <p:nvSpPr>
          <p:cNvPr id="14" name="Freeform 13"/>
          <p:cNvSpPr/>
          <p:nvPr userDrawn="1"/>
        </p:nvSpPr>
        <p:spPr>
          <a:xfrm flipV="1">
            <a:off x="2" y="0"/>
            <a:ext cx="6048374" cy="6858000"/>
          </a:xfrm>
          <a:custGeom>
            <a:avLst/>
            <a:gdLst>
              <a:gd name="connsiteX0" fmla="*/ 0 w 6048375"/>
              <a:gd name="connsiteY0" fmla="*/ 6858000 h 6858000"/>
              <a:gd name="connsiteX1" fmla="*/ 4717143 w 6048375"/>
              <a:gd name="connsiteY1" fmla="*/ 6858000 h 6858000"/>
              <a:gd name="connsiteX2" fmla="*/ 6048375 w 6048375"/>
              <a:gd name="connsiteY2" fmla="*/ 6858000 h 6858000"/>
              <a:gd name="connsiteX3" fmla="*/ 4717143 w 6048375"/>
              <a:gd name="connsiteY3" fmla="*/ 1712 h 6858000"/>
              <a:gd name="connsiteX4" fmla="*/ 4717143 w 6048375"/>
              <a:gd name="connsiteY4" fmla="*/ 0 h 6858000"/>
              <a:gd name="connsiteX5" fmla="*/ 0 w 604837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858000">
                <a:moveTo>
                  <a:pt x="0" y="6858000"/>
                </a:moveTo>
                <a:lnTo>
                  <a:pt x="4717143" y="6858000"/>
                </a:lnTo>
                <a:lnTo>
                  <a:pt x="6048375" y="6858000"/>
                </a:lnTo>
                <a:lnTo>
                  <a:pt x="4717143" y="1712"/>
                </a:lnTo>
                <a:lnTo>
                  <a:pt x="471714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7" tIns="45629" rIns="91257" bIns="45629" rtlCol="0" anchor="ctr"/>
          <a:lstStyle/>
          <a:p>
            <a:pPr algn="ctr" defTabSz="1218249"/>
            <a:endParaRPr lang="en-GB" sz="24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0359" y="1618745"/>
            <a:ext cx="4905682" cy="775504"/>
          </a:xfrm>
        </p:spPr>
        <p:txBody>
          <a:bodyPr anchor="b" anchorCtr="0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58248" y="2432993"/>
            <a:ext cx="3973508" cy="1655762"/>
          </a:xfrm>
        </p:spPr>
        <p:txBody>
          <a:bodyPr/>
          <a:lstStyle>
            <a:lvl1pPr marL="0" indent="0" algn="l">
              <a:buNone/>
              <a:defRPr sz="4800" i="1">
                <a:solidFill>
                  <a:schemeClr val="accent6"/>
                </a:solidFill>
              </a:defRPr>
            </a:lvl1pPr>
            <a:lvl2pPr marL="456693" indent="0" algn="ctr">
              <a:buNone/>
              <a:defRPr sz="2000"/>
            </a:lvl2pPr>
            <a:lvl3pPr marL="913291" indent="0" algn="ctr">
              <a:buNone/>
              <a:defRPr sz="1800"/>
            </a:lvl3pPr>
            <a:lvl4pPr marL="1369898" indent="0" algn="ctr">
              <a:buNone/>
              <a:defRPr sz="1600"/>
            </a:lvl4pPr>
            <a:lvl5pPr marL="1826533" indent="0" algn="ctr">
              <a:buNone/>
              <a:defRPr sz="1600"/>
            </a:lvl5pPr>
            <a:lvl6pPr marL="2283172" indent="0" algn="ctr">
              <a:buNone/>
              <a:defRPr sz="1600"/>
            </a:lvl6pPr>
            <a:lvl7pPr marL="2739803" indent="0" algn="ctr">
              <a:buNone/>
              <a:defRPr sz="1600"/>
            </a:lvl7pPr>
            <a:lvl8pPr marL="3196436" indent="0" algn="ctr">
              <a:buNone/>
              <a:defRPr sz="1600"/>
            </a:lvl8pPr>
            <a:lvl9pPr marL="3653076" indent="0" algn="ctr">
              <a:buNone/>
              <a:defRPr sz="1600"/>
            </a:lvl9pPr>
          </a:lstStyle>
          <a:p>
            <a:r>
              <a:rPr lang="en-US"/>
              <a:t>subtitle style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47" y="427911"/>
            <a:ext cx="828000" cy="828000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1248725" y="4732640"/>
            <a:ext cx="3684144" cy="69968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500">
                <a:solidFill>
                  <a:schemeClr val="bg1"/>
                </a:solidFill>
              </a:defRPr>
            </a:lvl1pPr>
            <a:lvl2pPr marL="456693" indent="0">
              <a:buNone/>
              <a:defRPr sz="1400"/>
            </a:lvl2pPr>
            <a:lvl3pPr marL="913291" indent="0">
              <a:buNone/>
              <a:defRPr sz="1200"/>
            </a:lvl3pPr>
            <a:lvl4pPr marL="1369898" indent="0">
              <a:buNone/>
              <a:defRPr sz="1000"/>
            </a:lvl4pPr>
            <a:lvl5pPr marL="1826533" indent="0">
              <a:buNone/>
              <a:defRPr sz="1000"/>
            </a:lvl5pPr>
            <a:lvl6pPr marL="2283172" indent="0">
              <a:buNone/>
              <a:defRPr sz="1000"/>
            </a:lvl6pPr>
            <a:lvl7pPr marL="2739803" indent="0">
              <a:buNone/>
              <a:defRPr sz="1000"/>
            </a:lvl7pPr>
            <a:lvl8pPr marL="3196436" indent="0">
              <a:buNone/>
              <a:defRPr sz="1000"/>
            </a:lvl8pPr>
            <a:lvl9pPr marL="365307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8885" y="4427366"/>
            <a:ext cx="331200" cy="10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9669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7F9602-6503-4B54-B7EC-C6D95C8FE73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roducing the Bayer Code I April 2023</a:t>
            </a: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6CA6A-7D0E-46CC-B24A-74F4C485F44B}" type="slidenum">
              <a:rPr lang="en-GB" smtClean="0">
                <a:solidFill>
                  <a:srgbClr val="00BCFF"/>
                </a:solidFill>
              </a:rPr>
              <a:pPr/>
              <a:t>‹#›</a:t>
            </a:fld>
            <a:endParaRPr lang="en-GB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307561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2051050" cy="6858000"/>
          </a:xfrm>
          <a:custGeom>
            <a:avLst/>
            <a:gdLst>
              <a:gd name="T0" fmla="*/ 0 w 1292"/>
              <a:gd name="T1" fmla="*/ 0 h 4320"/>
              <a:gd name="T2" fmla="*/ 0 w 1292"/>
              <a:gd name="T3" fmla="*/ 4320 h 4320"/>
              <a:gd name="T4" fmla="*/ 969 w 1292"/>
              <a:gd name="T5" fmla="*/ 4320 h 4320"/>
              <a:gd name="T6" fmla="*/ 1292 w 1292"/>
              <a:gd name="T7" fmla="*/ 0 h 4320"/>
              <a:gd name="T8" fmla="*/ 0 w 1292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2" h="4320">
                <a:moveTo>
                  <a:pt x="0" y="0"/>
                </a:moveTo>
                <a:lnTo>
                  <a:pt x="0" y="4320"/>
                </a:lnTo>
                <a:lnTo>
                  <a:pt x="969" y="4320"/>
                </a:lnTo>
                <a:lnTo>
                  <a:pt x="129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50000"/>
                </a:schemeClr>
              </a:gs>
              <a:gs pos="99180">
                <a:srgbClr val="0091C8">
                  <a:alpha val="50000"/>
                </a:srgbClr>
              </a:gs>
              <a:gs pos="83000">
                <a:srgbClr val="0091C8">
                  <a:alpha val="75000"/>
                </a:srgbClr>
              </a:gs>
            </a:gsLst>
            <a:lin ang="13200000" scaled="0"/>
            <a:tileRect/>
          </a:gradFill>
          <a:ln>
            <a:noFill/>
          </a:ln>
        </p:spPr>
        <p:txBody>
          <a:bodyPr vert="horz" wrap="square" lIns="91388" tIns="45659" rIns="91388" bIns="45659" numCol="1" anchor="t" anchorCtr="0" compatLnSpc="1">
            <a:prstTxWarp prst="textNoShape">
              <a:avLst/>
            </a:prstTxWarp>
          </a:bodyPr>
          <a:lstStyle/>
          <a:p>
            <a:pPr defTabSz="1218249"/>
            <a:endParaRPr lang="en-GB" sz="2400">
              <a:solidFill>
                <a:prstClr val="black"/>
              </a:solidFill>
            </a:endParaRP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" y="1714"/>
            <a:ext cx="1219809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1701" y="822325"/>
            <a:ext cx="4286308" cy="1767690"/>
          </a:xfrm>
        </p:spPr>
        <p:txBody>
          <a:bodyPr anchor="b"/>
          <a:lstStyle>
            <a:lvl1pPr algn="r">
              <a:defRPr sz="3500" b="1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2468" y="2501116"/>
            <a:ext cx="4889441" cy="1500187"/>
          </a:xfrm>
        </p:spPr>
        <p:txBody>
          <a:bodyPr/>
          <a:lstStyle>
            <a:lvl1pPr marL="0" indent="0">
              <a:buNone/>
              <a:defRPr sz="6300" i="1">
                <a:solidFill>
                  <a:schemeClr val="bg1"/>
                </a:solidFill>
              </a:defRPr>
            </a:lvl1pPr>
            <a:lvl2pPr marL="456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2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98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65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31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98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64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30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F4DEB7-4F33-4799-A8E4-2C844D3C75F4}" type="datetime1">
              <a:rPr lang="en-US" smtClean="0">
                <a:solidFill>
                  <a:prstClr val="white"/>
                </a:solidFill>
              </a:rPr>
              <a:pPr/>
              <a:t>3/27/2024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Introducing the Bayer Code I April 2023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6CA6A-7D0E-46CC-B24A-74F4C485F44B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5740400" y="1"/>
            <a:ext cx="1346200" cy="6859713"/>
          </a:xfrm>
          <a:prstGeom prst="line">
            <a:avLst/>
          </a:prstGeom>
          <a:ln>
            <a:solidFill>
              <a:srgbClr val="80D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9664700" y="3149600"/>
            <a:ext cx="2533398" cy="3710114"/>
          </a:xfrm>
          <a:prstGeom prst="line">
            <a:avLst/>
          </a:prstGeom>
          <a:ln>
            <a:solidFill>
              <a:srgbClr val="80D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39" y="804863"/>
            <a:ext cx="450001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507717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2051050" cy="6858000"/>
          </a:xfrm>
          <a:custGeom>
            <a:avLst/>
            <a:gdLst>
              <a:gd name="T0" fmla="*/ 0 w 1292"/>
              <a:gd name="T1" fmla="*/ 0 h 4320"/>
              <a:gd name="T2" fmla="*/ 0 w 1292"/>
              <a:gd name="T3" fmla="*/ 4320 h 4320"/>
              <a:gd name="T4" fmla="*/ 969 w 1292"/>
              <a:gd name="T5" fmla="*/ 4320 h 4320"/>
              <a:gd name="T6" fmla="*/ 1292 w 1292"/>
              <a:gd name="T7" fmla="*/ 0 h 4320"/>
              <a:gd name="T8" fmla="*/ 0 w 1292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2" h="4320">
                <a:moveTo>
                  <a:pt x="0" y="0"/>
                </a:moveTo>
                <a:lnTo>
                  <a:pt x="0" y="4320"/>
                </a:lnTo>
                <a:lnTo>
                  <a:pt x="969" y="4320"/>
                </a:lnTo>
                <a:lnTo>
                  <a:pt x="129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3162">
                  <a:alpha val="49804"/>
                </a:srgbClr>
              </a:gs>
              <a:gs pos="99180">
                <a:srgbClr val="D70C5A">
                  <a:alpha val="49804"/>
                </a:srgbClr>
              </a:gs>
              <a:gs pos="83000">
                <a:srgbClr val="D70C5A">
                  <a:alpha val="74902"/>
                </a:srgbClr>
              </a:gs>
            </a:gsLst>
            <a:lin ang="13200000" scaled="0"/>
            <a:tileRect/>
          </a:gradFill>
          <a:ln>
            <a:noFill/>
          </a:ln>
        </p:spPr>
        <p:txBody>
          <a:bodyPr vert="horz" wrap="square" lIns="91388" tIns="45659" rIns="91388" bIns="45659" numCol="1" anchor="t" anchorCtr="0" compatLnSpc="1">
            <a:prstTxWarp prst="textNoShape">
              <a:avLst/>
            </a:prstTxWarp>
          </a:bodyPr>
          <a:lstStyle/>
          <a:p>
            <a:pPr defTabSz="1218249"/>
            <a:endParaRPr lang="en-GB" sz="2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1356" y="1191025"/>
            <a:ext cx="4286308" cy="1767690"/>
          </a:xfrm>
        </p:spPr>
        <p:txBody>
          <a:bodyPr anchor="b"/>
          <a:lstStyle>
            <a:lvl1pPr algn="r">
              <a:defRPr sz="6300" b="0" i="1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19950" y="2973066"/>
            <a:ext cx="4889441" cy="1377711"/>
          </a:xfrm>
        </p:spPr>
        <p:txBody>
          <a:bodyPr/>
          <a:lstStyle>
            <a:lvl1pPr marL="0" indent="0">
              <a:buNone/>
              <a:defRPr sz="3500" b="1" i="0">
                <a:solidFill>
                  <a:schemeClr val="tx2"/>
                </a:solidFill>
              </a:defRPr>
            </a:lvl1pPr>
            <a:lvl2pPr marL="456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2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98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65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31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98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64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30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E0CE71-CCED-481B-A169-452C6F050DA6}" type="datetime1">
              <a:rPr lang="en-US" smtClean="0">
                <a:solidFill>
                  <a:prstClr val="white"/>
                </a:solidFill>
              </a:rPr>
              <a:pPr/>
              <a:t>3/27/2024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Introducing the Bayer Code I April 2023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6CA6A-7D0E-46CC-B24A-74F4C485F44B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5740400" y="1"/>
            <a:ext cx="1346200" cy="6859713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1238866" y="1714"/>
            <a:ext cx="4704735" cy="685800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39" y="804863"/>
            <a:ext cx="450001" cy="450000"/>
          </a:xfrm>
          <a:prstGeom prst="rect">
            <a:avLst/>
          </a:prstGeom>
        </p:spPr>
      </p:pic>
      <p:sp>
        <p:nvSpPr>
          <p:cNvPr id="20" name="Text Placeholder 3"/>
          <p:cNvSpPr>
            <a:spLocks noGrp="1"/>
          </p:cNvSpPr>
          <p:nvPr>
            <p:ph type="body" sz="half" idx="13"/>
          </p:nvPr>
        </p:nvSpPr>
        <p:spPr>
          <a:xfrm>
            <a:off x="8643018" y="4715034"/>
            <a:ext cx="2518628" cy="115327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1" cap="none" baseline="0">
                <a:solidFill>
                  <a:schemeClr val="bg1"/>
                </a:solidFill>
              </a:defRPr>
            </a:lvl1pPr>
            <a:lvl2pPr marL="456693" indent="0">
              <a:buNone/>
              <a:defRPr sz="1400"/>
            </a:lvl2pPr>
            <a:lvl3pPr marL="913291" indent="0">
              <a:buNone/>
              <a:defRPr sz="1200"/>
            </a:lvl3pPr>
            <a:lvl4pPr marL="1369898" indent="0">
              <a:buNone/>
              <a:defRPr sz="1000"/>
            </a:lvl4pPr>
            <a:lvl5pPr marL="1826533" indent="0">
              <a:buNone/>
              <a:defRPr sz="1000"/>
            </a:lvl5pPr>
            <a:lvl6pPr marL="2283172" indent="0">
              <a:buNone/>
              <a:defRPr sz="1000"/>
            </a:lvl6pPr>
            <a:lvl7pPr marL="2739803" indent="0">
              <a:buNone/>
              <a:defRPr sz="1000"/>
            </a:lvl7pPr>
            <a:lvl8pPr marL="3196436" indent="0">
              <a:buNone/>
              <a:defRPr sz="1000"/>
            </a:lvl8pPr>
            <a:lvl9pPr marL="365307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872751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2051050" cy="6858000"/>
          </a:xfrm>
          <a:custGeom>
            <a:avLst/>
            <a:gdLst>
              <a:gd name="T0" fmla="*/ 0 w 1292"/>
              <a:gd name="T1" fmla="*/ 0 h 4320"/>
              <a:gd name="T2" fmla="*/ 0 w 1292"/>
              <a:gd name="T3" fmla="*/ 4320 h 4320"/>
              <a:gd name="T4" fmla="*/ 969 w 1292"/>
              <a:gd name="T5" fmla="*/ 4320 h 4320"/>
              <a:gd name="T6" fmla="*/ 1292 w 1292"/>
              <a:gd name="T7" fmla="*/ 0 h 4320"/>
              <a:gd name="T8" fmla="*/ 0 w 1292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2" h="4320">
                <a:moveTo>
                  <a:pt x="0" y="0"/>
                </a:moveTo>
                <a:lnTo>
                  <a:pt x="0" y="4320"/>
                </a:lnTo>
                <a:lnTo>
                  <a:pt x="969" y="4320"/>
                </a:lnTo>
                <a:lnTo>
                  <a:pt x="129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FF3162">
                  <a:alpha val="49804"/>
                </a:srgbClr>
              </a:gs>
              <a:gs pos="99180">
                <a:srgbClr val="D70C5A">
                  <a:alpha val="49804"/>
                </a:srgbClr>
              </a:gs>
              <a:gs pos="83000">
                <a:srgbClr val="D70C5A">
                  <a:alpha val="74902"/>
                </a:srgbClr>
              </a:gs>
            </a:gsLst>
            <a:lin ang="13200000" scaled="0"/>
            <a:tileRect/>
          </a:gradFill>
          <a:ln>
            <a:noFill/>
          </a:ln>
        </p:spPr>
        <p:txBody>
          <a:bodyPr vert="horz" wrap="square" lIns="91388" tIns="45659" rIns="91388" bIns="45659" numCol="1" anchor="t" anchorCtr="0" compatLnSpc="1">
            <a:prstTxWarp prst="textNoShape">
              <a:avLst/>
            </a:prstTxWarp>
          </a:bodyPr>
          <a:lstStyle/>
          <a:p>
            <a:pPr defTabSz="1218249"/>
            <a:endParaRPr lang="en-GB" sz="240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1356" y="1191025"/>
            <a:ext cx="4286308" cy="1767690"/>
          </a:xfrm>
        </p:spPr>
        <p:txBody>
          <a:bodyPr anchor="b"/>
          <a:lstStyle>
            <a:lvl1pPr algn="r">
              <a:defRPr sz="6300" b="0" i="1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19950" y="2973066"/>
            <a:ext cx="4889441" cy="1377711"/>
          </a:xfrm>
        </p:spPr>
        <p:txBody>
          <a:bodyPr/>
          <a:lstStyle>
            <a:lvl1pPr marL="0" indent="0">
              <a:buNone/>
              <a:defRPr sz="3500" b="1" i="0">
                <a:solidFill>
                  <a:schemeClr val="tx2"/>
                </a:solidFill>
              </a:defRPr>
            </a:lvl1pPr>
            <a:lvl2pPr marL="456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2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98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65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31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98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64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30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7876748-7CF7-4EB0-A05A-4BB04E32D0DF}" type="datetime1">
              <a:rPr lang="en-US" smtClean="0">
                <a:solidFill>
                  <a:prstClr val="white"/>
                </a:solidFill>
              </a:rPr>
              <a:pPr/>
              <a:t>3/27/2024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Introducing the Bayer Code I April 2023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6CA6A-7D0E-46CC-B24A-74F4C485F44B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5740400" y="1"/>
            <a:ext cx="1346200" cy="6859713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1238866" y="1714"/>
            <a:ext cx="4704735" cy="685800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39" y="804863"/>
            <a:ext cx="450001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48703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5"/>
          <p:cNvSpPr>
            <a:spLocks/>
          </p:cNvSpPr>
          <p:nvPr userDrawn="1"/>
        </p:nvSpPr>
        <p:spPr bwMode="auto">
          <a:xfrm>
            <a:off x="0" y="0"/>
            <a:ext cx="2051050" cy="6858000"/>
          </a:xfrm>
          <a:custGeom>
            <a:avLst/>
            <a:gdLst>
              <a:gd name="T0" fmla="*/ 0 w 1292"/>
              <a:gd name="T1" fmla="*/ 0 h 4320"/>
              <a:gd name="T2" fmla="*/ 0 w 1292"/>
              <a:gd name="T3" fmla="*/ 4320 h 4320"/>
              <a:gd name="T4" fmla="*/ 969 w 1292"/>
              <a:gd name="T5" fmla="*/ 4320 h 4320"/>
              <a:gd name="T6" fmla="*/ 1292 w 1292"/>
              <a:gd name="T7" fmla="*/ 0 h 4320"/>
              <a:gd name="T8" fmla="*/ 0 w 1292"/>
              <a:gd name="T9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2" h="4320">
                <a:moveTo>
                  <a:pt x="0" y="0"/>
                </a:moveTo>
                <a:lnTo>
                  <a:pt x="0" y="4320"/>
                </a:lnTo>
                <a:lnTo>
                  <a:pt x="969" y="4320"/>
                </a:lnTo>
                <a:lnTo>
                  <a:pt x="129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4"/>
              </a:gs>
              <a:gs pos="99180">
                <a:srgbClr val="61BC00">
                  <a:alpha val="50000"/>
                </a:srgbClr>
              </a:gs>
              <a:gs pos="83000">
                <a:srgbClr val="61BC00">
                  <a:alpha val="74902"/>
                </a:srgbClr>
              </a:gs>
            </a:gsLst>
            <a:lin ang="13200000" scaled="0"/>
            <a:tileRect/>
          </a:gradFill>
          <a:ln>
            <a:noFill/>
          </a:ln>
        </p:spPr>
        <p:txBody>
          <a:bodyPr vert="horz" wrap="square" lIns="91388" tIns="45659" rIns="91388" bIns="45659" numCol="1" anchor="t" anchorCtr="0" compatLnSpc="1">
            <a:prstTxWarp prst="textNoShape">
              <a:avLst/>
            </a:prstTxWarp>
          </a:bodyPr>
          <a:lstStyle/>
          <a:p>
            <a:pPr defTabSz="1218249"/>
            <a:endParaRPr lang="en-GB" sz="240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V="1">
            <a:off x="3540080" y="-1576"/>
            <a:ext cx="1332000" cy="6859713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2409" y="1191025"/>
            <a:ext cx="5855309" cy="1767690"/>
          </a:xfrm>
        </p:spPr>
        <p:txBody>
          <a:bodyPr anchor="b"/>
          <a:lstStyle>
            <a:lvl1pPr algn="r">
              <a:defRPr sz="6300" b="0" i="1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19950" y="2973066"/>
            <a:ext cx="4889441" cy="1377711"/>
          </a:xfrm>
        </p:spPr>
        <p:txBody>
          <a:bodyPr/>
          <a:lstStyle>
            <a:lvl1pPr marL="0" indent="0">
              <a:buNone/>
              <a:defRPr sz="3500" b="1" i="0">
                <a:solidFill>
                  <a:srgbClr val="004422"/>
                </a:solidFill>
              </a:defRPr>
            </a:lvl1pPr>
            <a:lvl2pPr marL="45669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2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98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65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31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98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64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30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B1E6FF-C184-4EC6-B5FB-380ED2465D0E}" type="datetime1">
              <a:rPr lang="en-US" smtClean="0">
                <a:solidFill>
                  <a:prstClr val="white"/>
                </a:solidFill>
              </a:rPr>
              <a:pPr/>
              <a:t>3/27/2024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Introducing the Bayer Code I April 2023</a:t>
            </a:r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6CA6A-7D0E-46CC-B24A-74F4C485F44B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745382" y="43"/>
            <a:ext cx="2484000" cy="6859714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239" y="804863"/>
            <a:ext cx="450001" cy="4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444871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30400" y="2134800"/>
            <a:ext cx="5003999" cy="40465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7959" y="2130425"/>
            <a:ext cx="5003999" cy="40465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85CA7-28D6-4D65-BEE7-E689E550435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roducing the Bayer Code I April 2023</a:t>
            </a: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6CA6A-7D0E-46CC-B24A-74F4C485F44B}" type="slidenum">
              <a:rPr lang="en-GB" smtClean="0">
                <a:solidFill>
                  <a:srgbClr val="00BCFF"/>
                </a:solidFill>
              </a:rPr>
              <a:pPr/>
              <a:t>‹#›</a:t>
            </a:fld>
            <a:endParaRPr lang="en-GB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624321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9576" y="1643063"/>
            <a:ext cx="5003999" cy="449262"/>
          </a:xfrm>
        </p:spPr>
        <p:txBody>
          <a:bodyPr anchor="b"/>
          <a:lstStyle>
            <a:lvl1pPr marL="0" indent="0">
              <a:buNone/>
              <a:defRPr sz="1800" b="0">
                <a:solidFill>
                  <a:srgbClr val="004422"/>
                </a:solidFill>
              </a:defRPr>
            </a:lvl1pPr>
            <a:lvl2pPr marL="456693" indent="0">
              <a:buNone/>
              <a:defRPr sz="2000" b="1"/>
            </a:lvl2pPr>
            <a:lvl3pPr marL="913291" indent="0">
              <a:buNone/>
              <a:defRPr sz="1800" b="1"/>
            </a:lvl3pPr>
            <a:lvl4pPr marL="1369898" indent="0">
              <a:buNone/>
              <a:defRPr sz="1600" b="1"/>
            </a:lvl4pPr>
            <a:lvl5pPr marL="1826533" indent="0">
              <a:buNone/>
              <a:defRPr sz="1600" b="1"/>
            </a:lvl5pPr>
            <a:lvl6pPr marL="2283172" indent="0">
              <a:buNone/>
              <a:defRPr sz="1600" b="1"/>
            </a:lvl6pPr>
            <a:lvl7pPr marL="2739803" indent="0">
              <a:buNone/>
              <a:defRPr sz="1600" b="1"/>
            </a:lvl7pPr>
            <a:lvl8pPr marL="3196436" indent="0">
              <a:buNone/>
              <a:defRPr sz="1600" b="1"/>
            </a:lvl8pPr>
            <a:lvl9pPr marL="365307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9576" y="2130425"/>
            <a:ext cx="5003999" cy="4059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7960" y="1643063"/>
            <a:ext cx="5003999" cy="449262"/>
          </a:xfrm>
        </p:spPr>
        <p:txBody>
          <a:bodyPr anchor="b"/>
          <a:lstStyle>
            <a:lvl1pPr marL="0" indent="0">
              <a:buNone/>
              <a:defRPr sz="1800" b="0">
                <a:solidFill>
                  <a:srgbClr val="004422"/>
                </a:solidFill>
              </a:defRPr>
            </a:lvl1pPr>
            <a:lvl2pPr marL="456693" indent="0">
              <a:buNone/>
              <a:defRPr sz="2000" b="1"/>
            </a:lvl2pPr>
            <a:lvl3pPr marL="913291" indent="0">
              <a:buNone/>
              <a:defRPr sz="1800" b="1"/>
            </a:lvl3pPr>
            <a:lvl4pPr marL="1369898" indent="0">
              <a:buNone/>
              <a:defRPr sz="1600" b="1"/>
            </a:lvl4pPr>
            <a:lvl5pPr marL="1826533" indent="0">
              <a:buNone/>
              <a:defRPr sz="1600" b="1"/>
            </a:lvl5pPr>
            <a:lvl6pPr marL="2283172" indent="0">
              <a:buNone/>
              <a:defRPr sz="1600" b="1"/>
            </a:lvl6pPr>
            <a:lvl7pPr marL="2739803" indent="0">
              <a:buNone/>
              <a:defRPr sz="1600" b="1"/>
            </a:lvl7pPr>
            <a:lvl8pPr marL="3196436" indent="0">
              <a:buNone/>
              <a:defRPr sz="1600" b="1"/>
            </a:lvl8pPr>
            <a:lvl9pPr marL="365307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7960" y="2130425"/>
            <a:ext cx="5003999" cy="4059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9B2B5F-1769-4460-A35A-A3A79FC0C70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roducing the Bayer Code I April 2023</a:t>
            </a: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6CA6A-7D0E-46CC-B24A-74F4C485F44B}" type="slidenum">
              <a:rPr lang="en-GB" smtClean="0">
                <a:solidFill>
                  <a:srgbClr val="00BCFF"/>
                </a:solidFill>
              </a:rPr>
              <a:pPr/>
              <a:t>‹#›</a:t>
            </a:fld>
            <a:endParaRPr lang="en-GB">
              <a:solidFill>
                <a:srgbClr val="00BCFF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6260113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E3062E-DF0C-4AF6-76B4-064D0B909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AC9B928-32EB-ACF1-0376-09D205ABB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7E8B726-B240-B119-91ED-AAEABC46D3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5132725-CE4A-80C9-0B09-D10CC9885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82F0467-87D6-EB1E-A356-01FF080FF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2BD0070-A7E3-0C71-552C-5631A629B3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7595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ABCE3-7027-4B08-9FDD-52E9FC926FF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roducing the Bayer Code I April 2023</a:t>
            </a: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6CA6A-7D0E-46CC-B24A-74F4C485F44B}" type="slidenum">
              <a:rPr lang="en-GB" smtClean="0">
                <a:solidFill>
                  <a:srgbClr val="00BCFF"/>
                </a:solidFill>
              </a:rPr>
              <a:pPr/>
              <a:t>‹#›</a:t>
            </a:fld>
            <a:endParaRPr lang="en-GB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551971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E04C3-68D2-4031-A485-FE05875BAFB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Introducing the Bayer Code I April 2023</a:t>
            </a: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C6CA6A-7D0E-46CC-B24A-74F4C485F44B}" type="slidenum">
              <a:rPr lang="en-GB" smtClean="0">
                <a:solidFill>
                  <a:srgbClr val="00BCFF"/>
                </a:solidFill>
              </a:rPr>
              <a:pPr/>
              <a:t>‹#›</a:t>
            </a:fld>
            <a:endParaRPr lang="en-GB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182364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Rectangle 6"/>
          <p:cNvSpPr txBox="1">
            <a:spLocks noChangeArrowheads="1"/>
          </p:cNvSpPr>
          <p:nvPr userDrawn="1"/>
        </p:nvSpPr>
        <p:spPr bwMode="auto">
          <a:xfrm>
            <a:off x="11179940" y="6525395"/>
            <a:ext cx="413046" cy="33260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609585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21917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828754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438339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3047924" algn="l" defTabSz="609585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3657509" algn="l" defTabSz="609585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4267093" algn="l" defTabSz="609585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4876678" algn="l" defTabSz="609585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r"/>
            <a:r>
              <a:rPr lang="de-DE" sz="1000"/>
              <a:t> </a:t>
            </a:r>
            <a:fld id="{9D2A0833-12D2-9C42-82CB-AB9A66A64DCA}" type="slidenum">
              <a:rPr lang="de-DE" sz="1000" smtClean="0"/>
              <a:pPr algn="r"/>
              <a:t>‹#›</a:t>
            </a:fld>
            <a:endParaRPr lang="de-DE" sz="1051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E820A6-5696-9E44-AD9D-9BBDC27C80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810" y="6511706"/>
            <a:ext cx="1077849" cy="20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5389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6D8AC94-5FD8-43AB-A646-1967FD794B86}" type="datetime1">
              <a:rPr lang="en-US" smtClean="0"/>
              <a:pPr/>
              <a:t>3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Introducing the Bayer Code I April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911932088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291D5BB-7113-685D-2C42-9DC6E96EC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9A8CDC8-6E98-731D-4DA9-3ED6921223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BF479D9-5B1A-1FA0-9DC5-6287C6B4EA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E132004-89FF-727D-8643-06ABA6B3CD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3C321FE6-4F8A-F3A6-DED6-2939F0F7DC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68E6ED8-2332-6206-ED0C-839BB56C9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BE33BF3-887F-6C00-EA78-0D970E8D5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45BE2FE1-81DF-6131-F7B7-D986B1304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99362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0DB3F7-8B12-EAE2-ED21-D8A9BC851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3B4D5F9-91CE-FEA4-8588-207325ECC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B359838-E409-1366-14D7-96122F4788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D3ACCF8-D26B-662F-B5B0-FC986DB4C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457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1386764-CE29-50B7-FEF4-5CEE56394B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28D349B-DAC1-D393-D16C-8CD34E750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7497C4F-18AC-69F8-9F87-3CABEE595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28818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256EA8-7A44-E830-F221-AC4A331AA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5E835B9-ABA5-1703-77C7-73DCF0933F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43EB342-F283-9CC5-337F-E61D4E0429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F876CA4-06C1-BA41-F684-94BF7A2329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CBE7990-920B-7213-95D7-6527C80EA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6F4E3D7-7B69-EDED-C541-ECD115C8D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56107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8ED1E1-2227-FD5A-3607-2561EB4FF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4570669-4076-4B8E-86E2-A5B1A703AE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2895922-A022-C85F-0412-2363B29AFB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FC19150-8B49-850B-6D01-34D775BD1B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531E075-69CC-DE27-264B-2E71F1394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69F35B5-1FA3-7E3C-3754-4648E7B9E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90146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0.wmf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1DCD05-0586-4A85-4B54-5379D8584D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C8676B7-9BC4-6451-828E-F101105FB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C507B0F-3B99-C253-7FDE-14FC2EDC09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AFCB13-FE22-4C08-8B14-FD3ECA5F103C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B2B2E76-70EF-C34D-FEF3-4153735828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669A4B-698F-EAAD-1EE7-4225B535C2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D3BD6B-F44A-42F7-9342-35C11EA68DAD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F32A19-1655-D627-EA96-B74201061EDC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ru-RU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732529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8E91F6B7-D9DD-40B9-8E0F-7B4E75E5DBFB}" type="datetime1">
              <a:rPr lang="en-US"/>
              <a:t>3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16:9 Template /// June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BA523F-6430-44A4-85ED-1EC70B1D97E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ru-RU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115213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p184="http://schemas.microsoft.com/office/powerpoint/2018/4/main" xmlns:a16="http://schemas.microsoft.com/office/drawing/2014/main"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BED797D-E00D-4A0C-A99E-376DE26BD6C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ru-RU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881269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27209" y="268056"/>
            <a:ext cx="10406064" cy="108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9416" y="2133760"/>
            <a:ext cx="10373645" cy="4043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48981" y="6486585"/>
            <a:ext cx="2743200" cy="2396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249"/>
            <a:fld id="{1327A33E-16BD-4F83-BCB3-9BD3AD433E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249"/>
              <a:t>3/27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9417" y="6486585"/>
            <a:ext cx="4556168" cy="2396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249"/>
            <a:r>
              <a:rPr lang="en-US">
                <a:solidFill>
                  <a:prstClr val="black">
                    <a:tint val="75000"/>
                  </a:prstClr>
                </a:solidFill>
              </a:rPr>
              <a:t>Introducing the Bayer Code I April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09183" y="6486585"/>
            <a:ext cx="450113" cy="23965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pPr defTabSz="1218249"/>
            <a:fld id="{E5C6CA6A-7D0E-46CC-B24A-74F4C485F44B}" type="slidenum">
              <a:rPr lang="en-US" smtClean="0">
                <a:solidFill>
                  <a:srgbClr val="00BCFF"/>
                </a:solidFill>
              </a:rPr>
              <a:pPr defTabSz="1218249"/>
              <a:t>‹#›</a:t>
            </a:fld>
            <a:endParaRPr lang="en-US">
              <a:solidFill>
                <a:srgbClr val="00BC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183" y="804863"/>
            <a:ext cx="450113" cy="450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0B2B222-D26B-4746-AF06-F22DB2EBA56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ru-RU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03678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</p:sldLayoutIdLst>
  <p:hf hdr="0" dt="0"/>
  <p:txStyles>
    <p:titleStyle>
      <a:lvl1pPr algn="l" defTabSz="913291" rtl="0" eaLnBrk="1" latinLnBrk="0" hangingPunct="1">
        <a:lnSpc>
          <a:spcPct val="84000"/>
        </a:lnSpc>
        <a:spcBef>
          <a:spcPct val="0"/>
        </a:spcBef>
        <a:buNone/>
        <a:defRPr sz="3500" b="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67575" indent="-267575" algn="l" defTabSz="913291" rtl="0" eaLnBrk="1" latinLnBrk="0" hangingPunct="1">
        <a:lnSpc>
          <a:spcPct val="90000"/>
        </a:lnSpc>
        <a:spcBef>
          <a:spcPts val="1198"/>
        </a:spcBef>
        <a:buClr>
          <a:schemeClr val="accent6"/>
        </a:buClr>
        <a:buFontTx/>
        <a:buBlip>
          <a:blip r:embed="rId16"/>
        </a:buBlip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36769" indent="-266008" algn="l" defTabSz="913291" rtl="0" eaLnBrk="1" latinLnBrk="0" hangingPunct="1">
        <a:lnSpc>
          <a:spcPct val="90000"/>
        </a:lnSpc>
        <a:spcBef>
          <a:spcPts val="1198"/>
        </a:spcBef>
        <a:buFontTx/>
        <a:buBlip>
          <a:blip r:embed="rId17"/>
        </a:buBlip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718825" indent="-182039" algn="l" defTabSz="913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89844" indent="-170948" algn="l" defTabSz="913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073493" indent="-183782" algn="l" defTabSz="913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1488" indent="-228303" algn="l" defTabSz="913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125" indent="-228303" algn="l" defTabSz="913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762" indent="-228303" algn="l" defTabSz="913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390" indent="-228303" algn="l" defTabSz="9132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3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91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98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533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172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803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436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076" algn="l" defTabSz="9132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734">
          <p15:clr>
            <a:srgbClr val="F26B43"/>
          </p15:clr>
        </p15:guide>
        <p15:guide id="1" pos="3885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504">
          <p15:clr>
            <a:srgbClr val="F26B43"/>
          </p15:clr>
        </p15:guide>
        <p15:guide id="4" orient="horz" pos="1342">
          <p15:clr>
            <a:srgbClr val="F26B43"/>
          </p15:clr>
        </p15:guide>
        <p15:guide id="5" pos="415">
          <p15:clr>
            <a:srgbClr val="F26B43"/>
          </p15:clr>
        </p15:guide>
        <p15:guide id="6" pos="7265">
          <p15:clr>
            <a:srgbClr val="F26B43"/>
          </p15:clr>
        </p15:guide>
        <p15:guide id="7" pos="272">
          <p15:clr>
            <a:srgbClr val="F26B43"/>
          </p15:clr>
        </p15:guide>
        <p15:guide id="8" pos="3999">
          <p15:clr>
            <a:srgbClr val="F26B43"/>
          </p15:clr>
        </p15:guide>
        <p15:guide id="9" pos="4112">
          <p15:clr>
            <a:srgbClr val="F26B43"/>
          </p15:clr>
        </p15:guide>
        <p15:guide id="10" pos="132">
          <p15:clr>
            <a:srgbClr val="F26B43"/>
          </p15:clr>
        </p15:guide>
        <p15:guide id="11" pos="710">
          <p15:clr>
            <a:srgbClr val="F26B43"/>
          </p15:clr>
        </p15:guide>
        <p15:guide id="12" orient="horz" pos="786">
          <p15:clr>
            <a:srgbClr val="F26B43"/>
          </p15:clr>
        </p15:guide>
        <p15:guide id="13" pos="2961">
          <p15:clr>
            <a:srgbClr val="F26B43"/>
          </p15:clr>
        </p15:guide>
        <p15:guide id="14" pos="5002">
          <p15:clr>
            <a:srgbClr val="F26B43"/>
          </p15:clr>
        </p15:guide>
        <p15:guide id="15" pos="52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5" Type="http://schemas.openxmlformats.org/officeDocument/2006/relationships/image" Target="../media/image5.emf"/><Relationship Id="rId4" Type="http://schemas.openxmlformats.org/officeDocument/2006/relationships/image" Target="../media/image55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1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0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C7DEFE-4B21-2657-D8A9-1A1ED239D3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3456" y="2773839"/>
            <a:ext cx="9144000" cy="2387600"/>
          </a:xfrm>
        </p:spPr>
        <p:txBody>
          <a:bodyPr>
            <a:noAutofit/>
          </a:bodyPr>
          <a:lstStyle/>
          <a:p>
            <a:br>
              <a:rPr lang="en-US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чая группа по противодействию контрафактным СЗР и семенам Комитетов производителей СЗР и производителей семян Ассоциации европейского бизнеса</a:t>
            </a:r>
            <a:br>
              <a:rPr lang="en-US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en-US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ru-RU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блема контрафакта на маркетплейсах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26303150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40B83-FDC9-DCEF-E155-0190EC20F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992" y="292575"/>
            <a:ext cx="10515600" cy="1325563"/>
          </a:xfrm>
        </p:spPr>
        <p:txBody>
          <a:bodyPr/>
          <a:lstStyle/>
          <a:p>
            <a:pPr algn="ctr"/>
            <a:r>
              <a:rPr lang="ru-RU" dirty="0"/>
              <a:t>Продажа продукции</a:t>
            </a:r>
            <a:r>
              <a:rPr lang="en-US" dirty="0"/>
              <a:t> BASF</a:t>
            </a:r>
            <a:r>
              <a:rPr lang="ru-RU" dirty="0"/>
              <a:t> имеющей признаки контрафакта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9A90870-9F7F-54F0-EF9C-2654025730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549" y="2621153"/>
            <a:ext cx="6078451" cy="3429001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357862E-48CF-2696-C633-0BAC53507B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563915"/>
            <a:ext cx="6025897" cy="354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749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B188CD-7A65-3C78-94CE-ABD016FBA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тзывы на Регент и БИ - 58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4422DB8-E234-F9D1-4800-D16FB02E41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0087" y="2447417"/>
            <a:ext cx="5776082" cy="3651631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5B8F0F1-47CB-3259-75AA-D95FE8D4CC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85471" y="2447417"/>
            <a:ext cx="6639474" cy="365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1634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1041D-2DCA-FA3F-A521-1F284D410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/>
              <a:t>Продажа продукции</a:t>
            </a:r>
            <a:r>
              <a:rPr lang="en-US" dirty="0"/>
              <a:t> BASF</a:t>
            </a:r>
            <a:r>
              <a:rPr lang="ru-RU" dirty="0"/>
              <a:t> имеющей признаки контрафакта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852DF29-73C3-6D04-DF08-9DD02A4191E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5359" y="2185416"/>
            <a:ext cx="5717657" cy="3708083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D86440-1F6B-6251-0FF3-BF5D7EE20F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3488" y="2185417"/>
            <a:ext cx="6578512" cy="383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0712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E95BBBD-C7B0-E805-F14E-2D112E25D3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0" y="1690688"/>
            <a:ext cx="5983224" cy="2020824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3B8F2EB-AB10-F6DE-F09E-33B42527A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dirty="0"/>
              <a:t>Отзывы на Регент и БИ - 58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801101-8411-1A4D-DAC8-44068FB477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53195"/>
            <a:ext cx="6327609" cy="3758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433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82A59-718E-CF70-55D8-9C70160A4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4000" dirty="0"/>
              <a:t>Продажа продукции </a:t>
            </a:r>
            <a:r>
              <a:rPr lang="en-US" sz="4000" dirty="0"/>
              <a:t>BASF </a:t>
            </a:r>
            <a:r>
              <a:rPr lang="ru-RU" sz="4000" dirty="0"/>
              <a:t>имеющей признаки контрафакта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253DDF5-0CEC-0821-20A4-A3740891D0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6169" y="2130551"/>
            <a:ext cx="5363656" cy="4042283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2F0A81-47A9-378D-601B-FE07BD1C4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9825" y="2130551"/>
            <a:ext cx="6665976" cy="4195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7914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Text&#10;&#10;Description automatically generated with low confidence">
            <a:extLst>
              <a:ext uri="{FF2B5EF4-FFF2-40B4-BE49-F238E27FC236}">
                <a16:creationId xmlns:a16="http://schemas.microsoft.com/office/drawing/2014/main" id="{120EAEE3-393C-3DF5-267F-6B9D769B3E1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" y="894"/>
            <a:ext cx="12190413" cy="685710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BCCBB01-872B-6ABE-5C3E-792966923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25806" y="2023092"/>
            <a:ext cx="535693" cy="535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8C13EB1-515A-D22C-144E-ABC72C4D3E7C}"/>
              </a:ext>
            </a:extLst>
          </p:cNvPr>
          <p:cNvSpPr txBox="1"/>
          <p:nvPr/>
        </p:nvSpPr>
        <p:spPr>
          <a:xfrm>
            <a:off x="2260227" y="3689967"/>
            <a:ext cx="7671545" cy="949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6040"/>
              </a:lnSpc>
            </a:pPr>
            <a:r>
              <a:rPr lang="en-US" sz="9600" b="1" dirty="0">
                <a:solidFill>
                  <a:prstClr val="white"/>
                </a:solidFill>
                <a:latin typeface="Helvetica" pitchFamily="2" charset="0"/>
              </a:rPr>
              <a:t>BAYER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56BF14AB-0293-4A34-87A4-7DC8C4E42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9950" y="6486585"/>
            <a:ext cx="450054" cy="239652"/>
          </a:xfrm>
        </p:spPr>
        <p:txBody>
          <a:bodyPr/>
          <a:lstStyle/>
          <a:p>
            <a:fld id="{E5C6CA6A-7D0E-46CC-B24A-74F4C485F44B}" type="slidenum">
              <a:rPr lang="en-US">
                <a:solidFill>
                  <a:prstClr val="white"/>
                </a:solidFill>
                <a:latin typeface="Arial" panose="020B0604020202020204"/>
              </a:rPr>
              <a:pPr/>
              <a:t>15</a:t>
            </a:fld>
            <a:endParaRPr lang="en-US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109329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294AD03-D2CB-4F6D-8132-C8338772D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FFFFFF"/>
                </a:solidFill>
                <a:latin typeface="Arial"/>
                <a:cs typeface="Arial"/>
              </a:rPr>
              <a:pPr/>
              <a:t>16</a:t>
            </a:fld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Подзаголовок 7">
            <a:extLst>
              <a:ext uri="{FF2B5EF4-FFF2-40B4-BE49-F238E27FC236}">
                <a16:creationId xmlns:a16="http://schemas.microsoft.com/office/drawing/2014/main" id="{8C044F5E-EF1B-DDBD-62E1-2684E506CD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58723" y="3064854"/>
            <a:ext cx="3988168" cy="720000"/>
          </a:xfrm>
        </p:spPr>
        <p:txBody>
          <a:bodyPr/>
          <a:lstStyle/>
          <a:p>
            <a:r>
              <a:rPr lang="en-US" dirty="0"/>
              <a:t>676 </a:t>
            </a:r>
            <a:r>
              <a:rPr lang="ru-RU" dirty="0"/>
              <a:t>предложений бренд «</a:t>
            </a:r>
            <a:r>
              <a:rPr lang="en-US" dirty="0"/>
              <a:t>BAYER</a:t>
            </a:r>
            <a:r>
              <a:rPr lang="ru-RU" dirty="0"/>
              <a:t>»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1D324C68-1D3F-1F68-84F9-AB70C5CF8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400" b="1" i="0" dirty="0"/>
              <a:t>OZON</a:t>
            </a:r>
            <a:endParaRPr lang="ru-RU" sz="6400" b="1" i="0" dirty="0"/>
          </a:p>
        </p:txBody>
      </p:sp>
    </p:spTree>
    <p:extLst>
      <p:ext uri="{BB962C8B-B14F-4D97-AF65-F5344CB8AC3E}">
        <p14:creationId xmlns:p14="http://schemas.microsoft.com/office/powerpoint/2010/main" val="125801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17</a:t>
            </a:fld>
            <a:endParaRPr lang="en-US" dirty="0">
              <a:solidFill>
                <a:srgbClr val="00BCFF"/>
              </a:solidFill>
              <a:latin typeface="Arial"/>
              <a:cs typeface="Arial"/>
            </a:endParaRPr>
          </a:p>
        </p:txBody>
      </p:sp>
      <p:pic>
        <p:nvPicPr>
          <p:cNvPr id="8" name="Объект 7">
            <a:extLst>
              <a:ext uri="{FF2B5EF4-FFF2-40B4-BE49-F238E27FC236}">
                <a16:creationId xmlns:a16="http://schemas.microsoft.com/office/drawing/2014/main" id="{BEFA3D37-2908-7269-9613-7FC93C1934F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699372" y="103433"/>
            <a:ext cx="5947071" cy="248817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E278237-07E9-72E9-E964-572E85A231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898" y="2264820"/>
            <a:ext cx="2630342" cy="308585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3F15519-DB30-C997-3438-92250E2934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5133" y="3011553"/>
            <a:ext cx="3156052" cy="12945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5E34DE4-10FC-349A-5C95-69159EEF71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0350" y="4789873"/>
            <a:ext cx="9583291" cy="20015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Рисунок 15" descr="Шевроны со сплошной заливкой">
            <a:extLst>
              <a:ext uri="{FF2B5EF4-FFF2-40B4-BE49-F238E27FC236}">
                <a16:creationId xmlns:a16="http://schemas.microsoft.com/office/drawing/2014/main" id="{30FEA1C0-CD62-6B31-9040-5B80C55D6F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3672906" y="2485979"/>
            <a:ext cx="630252" cy="630252"/>
          </a:xfrm>
          <a:prstGeom prst="rect">
            <a:avLst/>
          </a:prstGeom>
        </p:spPr>
      </p:pic>
      <p:pic>
        <p:nvPicPr>
          <p:cNvPr id="17" name="Рисунок 16" descr="Шевроны со сплошной заливкой">
            <a:extLst>
              <a:ext uri="{FF2B5EF4-FFF2-40B4-BE49-F238E27FC236}">
                <a16:creationId xmlns:a16="http://schemas.microsoft.com/office/drawing/2014/main" id="{8DE5C6C3-AB2F-F96B-AB2F-C359FA8249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200000">
            <a:off x="3672906" y="4128686"/>
            <a:ext cx="630252" cy="63025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92E6E43-3EC9-30ED-1730-9D08CBCEBF0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2375" y="103433"/>
            <a:ext cx="4893409" cy="248817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08B8F7CA-DD30-C0FC-36C9-8E44831CE2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66919" y="4722061"/>
            <a:ext cx="2238865" cy="202711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1428611-3E1A-B8D9-6E96-E54C629135A2}"/>
              </a:ext>
            </a:extLst>
          </p:cNvPr>
          <p:cNvSpPr txBox="1"/>
          <p:nvPr/>
        </p:nvSpPr>
        <p:spPr bwMode="gray">
          <a:xfrm>
            <a:off x="5914484" y="2683380"/>
            <a:ext cx="5947070" cy="1886709"/>
          </a:xfrm>
          <a:prstGeom prst="rect">
            <a:avLst/>
          </a:prstGeom>
          <a:noFill/>
          <a:ln w="57150">
            <a:solidFill>
              <a:srgbClr val="D30F4B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lang="ru-RU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1964F9-503C-E34E-F1BB-EB30E1E8C200}"/>
              </a:ext>
            </a:extLst>
          </p:cNvPr>
          <p:cNvSpPr txBox="1"/>
          <p:nvPr/>
        </p:nvSpPr>
        <p:spPr bwMode="gray">
          <a:xfrm>
            <a:off x="5937689" y="2792896"/>
            <a:ext cx="5830664" cy="16509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  <a:latin typeface="Arial"/>
                <a:cs typeface="Arial"/>
              </a:rPr>
              <a:t>OZON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продавец </a:t>
            </a:r>
            <a:r>
              <a:rPr lang="ru-RU" b="1" dirty="0">
                <a:solidFill>
                  <a:srgbClr val="FF0000"/>
                </a:solidFill>
                <a:latin typeface="Arial"/>
                <a:cs typeface="Arial"/>
              </a:rPr>
              <a:t>АгроОнлайн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                                      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ИП Фролова Лариса Олеговна </a:t>
            </a:r>
            <a:r>
              <a:rPr lang="ru-RU" dirty="0">
                <a:solidFill>
                  <a:srgbClr val="001A34"/>
                </a:solidFill>
                <a:latin typeface="GTEestiPro"/>
                <a:cs typeface="Arial"/>
              </a:rPr>
              <a:t>312346128900044 </a:t>
            </a:r>
          </a:p>
          <a:p>
            <a:pPr algn="ctr"/>
            <a:r>
              <a:rPr lang="ru-RU" sz="24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48</a:t>
            </a:r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 торговых предложений бренда «</a:t>
            </a:r>
            <a:r>
              <a:rPr lang="en-US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BAYER</a:t>
            </a:r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»</a:t>
            </a:r>
            <a:endParaRPr lang="en-US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Вся предлагаемая продукция является Контрафактом, т.к. не зарегистрирована к применению на территории РФ (мелкая фасовка)</a:t>
            </a:r>
            <a:endParaRPr lang="ru-RU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81C8C5-6786-2C5D-1035-3E73E027765F}"/>
              </a:ext>
            </a:extLst>
          </p:cNvPr>
          <p:cNvSpPr txBox="1"/>
          <p:nvPr/>
        </p:nvSpPr>
        <p:spPr bwMode="gray">
          <a:xfrm>
            <a:off x="3672906" y="4789873"/>
            <a:ext cx="2478178" cy="2899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Неправомерная</a:t>
            </a:r>
            <a:r>
              <a:rPr lang="ru-RU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cs typeface="Arial"/>
              </a:rPr>
              <a:t> </a:t>
            </a:r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ссылка</a:t>
            </a:r>
          </a:p>
        </p:txBody>
      </p:sp>
    </p:spTree>
    <p:extLst>
      <p:ext uri="{BB962C8B-B14F-4D97-AF65-F5344CB8AC3E}">
        <p14:creationId xmlns:p14="http://schemas.microsoft.com/office/powerpoint/2010/main" val="248576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18</a:t>
            </a:fld>
            <a:endParaRPr lang="en-US" dirty="0">
              <a:solidFill>
                <a:srgbClr val="00BCFF"/>
              </a:solidFill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428611-3E1A-B8D9-6E96-E54C629135A2}"/>
              </a:ext>
            </a:extLst>
          </p:cNvPr>
          <p:cNvSpPr txBox="1"/>
          <p:nvPr/>
        </p:nvSpPr>
        <p:spPr bwMode="gray">
          <a:xfrm>
            <a:off x="5692294" y="132068"/>
            <a:ext cx="5947070" cy="1623701"/>
          </a:xfrm>
          <a:prstGeom prst="rect">
            <a:avLst/>
          </a:prstGeom>
          <a:noFill/>
          <a:ln w="57150">
            <a:solidFill>
              <a:srgbClr val="D30F4B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lang="ru-RU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1964F9-503C-E34E-F1BB-EB30E1E8C200}"/>
              </a:ext>
            </a:extLst>
          </p:cNvPr>
          <p:cNvSpPr txBox="1"/>
          <p:nvPr/>
        </p:nvSpPr>
        <p:spPr bwMode="gray">
          <a:xfrm>
            <a:off x="5715499" y="241584"/>
            <a:ext cx="5830664" cy="13945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  <a:latin typeface="Arial"/>
                <a:cs typeface="Arial"/>
              </a:rPr>
              <a:t>OZON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продавец </a:t>
            </a:r>
            <a:r>
              <a:rPr lang="ru-RU" b="1" dirty="0">
                <a:solidFill>
                  <a:srgbClr val="FF0000"/>
                </a:solidFill>
                <a:latin typeface="Arial"/>
                <a:cs typeface="Arial"/>
              </a:rPr>
              <a:t>Невидимые друзья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                                      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ИП Михайлова Марина Петровна </a:t>
            </a:r>
            <a:r>
              <a:rPr lang="ru-RU" dirty="0">
                <a:solidFill>
                  <a:srgbClr val="001A34"/>
                </a:solidFill>
                <a:latin typeface="GTEestiPro"/>
                <a:cs typeface="Arial"/>
              </a:rPr>
              <a:t>321312300029328 </a:t>
            </a: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едлагаемая продукция бренда «</a:t>
            </a:r>
            <a:r>
              <a:rPr lang="en-US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BAYER</a:t>
            </a:r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»</a:t>
            </a:r>
            <a:endParaRPr lang="en-US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является Контрафактом, т.к. не зарегистрирована к применению на территории РФ (мелкая фасовка)</a:t>
            </a:r>
            <a:endParaRPr lang="ru-RU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1C2DEDD-3B0B-2D73-3863-9B6485FB45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794" y="132067"/>
            <a:ext cx="3064220" cy="24079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8485C4A-6B52-98AC-84FC-FA977BF4B7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56" y="2883781"/>
            <a:ext cx="5833043" cy="38995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18A3CE2C-A210-CE0E-0D63-20ADF6EC15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9670" y="74665"/>
            <a:ext cx="3491022" cy="263222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96D8FAA3-116E-0A0D-9E1C-780F7D0BEF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5274" y="2030803"/>
            <a:ext cx="4336828" cy="466175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E0979BB-3F89-12A0-B580-F85836F0DF68}"/>
              </a:ext>
            </a:extLst>
          </p:cNvPr>
          <p:cNvSpPr txBox="1"/>
          <p:nvPr/>
        </p:nvSpPr>
        <p:spPr bwMode="gray">
          <a:xfrm>
            <a:off x="10002332" y="2585492"/>
            <a:ext cx="1925981" cy="37383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sz="28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имер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Обратная связь от потребителя, при этом всю переписку осуществляет 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OZON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, тем самым подтверждает свое участие в противоправном деянии и нарушении Законодательства РФ</a:t>
            </a:r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16" name="Рисунок 15" descr="Шевроны со сплошной заливкой">
            <a:extLst>
              <a:ext uri="{FF2B5EF4-FFF2-40B4-BE49-F238E27FC236}">
                <a16:creationId xmlns:a16="http://schemas.microsoft.com/office/drawing/2014/main" id="{30FEA1C0-CD62-6B31-9040-5B80C55D6F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3494483" y="2530719"/>
            <a:ext cx="630252" cy="63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72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B6835850-4AC2-4E8D-6CD0-82005541F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7807" y="2989334"/>
            <a:ext cx="3991374" cy="1440753"/>
          </a:xfrm>
        </p:spPr>
        <p:txBody>
          <a:bodyPr/>
          <a:lstStyle/>
          <a:p>
            <a:r>
              <a:rPr lang="en-US" sz="3200" b="1" i="0" dirty="0"/>
              <a:t>1 029 </a:t>
            </a:r>
            <a:r>
              <a:rPr lang="ru-RU" sz="3200" b="1" i="0" dirty="0"/>
              <a:t>предложений бренд «</a:t>
            </a:r>
            <a:r>
              <a:rPr lang="en-US" sz="3200" b="1" i="0" dirty="0"/>
              <a:t>BAYER</a:t>
            </a:r>
            <a:r>
              <a:rPr lang="ru-RU" sz="3200" b="1" i="0" dirty="0"/>
              <a:t>»</a:t>
            </a:r>
            <a:br>
              <a:rPr lang="ru-RU" sz="3200" b="1" i="0" dirty="0"/>
            </a:br>
            <a:endParaRPr lang="ru-RU" sz="3200" b="1" i="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172C915-07F7-CD3A-72C8-784A5813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FFFFFF"/>
                </a:solidFill>
                <a:latin typeface="Arial"/>
                <a:cs typeface="Arial"/>
              </a:rPr>
              <a:pPr/>
              <a:t>19</a:t>
            </a:fld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Подзаголовок 7">
            <a:extLst>
              <a:ext uri="{FF2B5EF4-FFF2-40B4-BE49-F238E27FC236}">
                <a16:creationId xmlns:a16="http://schemas.microsoft.com/office/drawing/2014/main" id="{20620A36-2BD2-4C9F-F6A4-EFA0F08039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7904" y="2134650"/>
            <a:ext cx="5060500" cy="720000"/>
          </a:xfrm>
        </p:spPr>
        <p:txBody>
          <a:bodyPr/>
          <a:lstStyle/>
          <a:p>
            <a:r>
              <a:rPr lang="en-US" sz="4800" dirty="0"/>
              <a:t>WILDBERRIES</a:t>
            </a: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191077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and green logo&#10;&#10;Description automatically generated">
            <a:extLst>
              <a:ext uri="{FF2B5EF4-FFF2-40B4-BE49-F238E27FC236}">
                <a16:creationId xmlns:a16="http://schemas.microsoft.com/office/drawing/2014/main" id="{8F1EDC60-235B-67F8-8C57-5702C93CEF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252" y="940308"/>
            <a:ext cx="6635496" cy="4977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9675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0</a:t>
            </a:fld>
            <a:endParaRPr lang="en-US" dirty="0">
              <a:solidFill>
                <a:srgbClr val="00BCFF"/>
              </a:solidFill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428611-3E1A-B8D9-6E96-E54C629135A2}"/>
              </a:ext>
            </a:extLst>
          </p:cNvPr>
          <p:cNvSpPr txBox="1"/>
          <p:nvPr/>
        </p:nvSpPr>
        <p:spPr bwMode="gray">
          <a:xfrm>
            <a:off x="5692294" y="132068"/>
            <a:ext cx="5947070" cy="2115477"/>
          </a:xfrm>
          <a:prstGeom prst="rect">
            <a:avLst/>
          </a:prstGeom>
          <a:noFill/>
          <a:ln w="57150">
            <a:solidFill>
              <a:srgbClr val="D30F4B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lang="ru-RU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1964F9-503C-E34E-F1BB-EB30E1E8C200}"/>
              </a:ext>
            </a:extLst>
          </p:cNvPr>
          <p:cNvSpPr txBox="1"/>
          <p:nvPr/>
        </p:nvSpPr>
        <p:spPr bwMode="gray">
          <a:xfrm>
            <a:off x="5715499" y="241584"/>
            <a:ext cx="5830664" cy="2005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  <a:latin typeface="Arial"/>
                <a:cs typeface="Arial"/>
              </a:rPr>
              <a:t>WB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продавец </a:t>
            </a:r>
            <a:r>
              <a:rPr lang="ru-RU" b="1" dirty="0">
                <a:solidFill>
                  <a:srgbClr val="FF0000"/>
                </a:solidFill>
                <a:latin typeface="Arial"/>
                <a:cs typeface="Arial"/>
              </a:rPr>
              <a:t>Зеленый Сад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–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                                      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ИП </a:t>
            </a:r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Гаджиев Гаджи Магомедшапиевич</a:t>
            </a:r>
          </a:p>
          <a:p>
            <a:pPr algn="ctr"/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ИНН: 054801128717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</a:p>
          <a:p>
            <a:pPr algn="ctr"/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Номер регистрации: 054801128717</a:t>
            </a:r>
            <a:endParaRPr lang="ru-RU" dirty="0">
              <a:solidFill>
                <a:srgbClr val="001A34"/>
              </a:solidFill>
              <a:latin typeface="GTEestiPro"/>
              <a:cs typeface="Arial"/>
            </a:endParaRP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едлагаемая продукция бренда «</a:t>
            </a:r>
            <a:r>
              <a:rPr lang="en-US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BAYER</a:t>
            </a:r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»</a:t>
            </a:r>
            <a:endParaRPr lang="en-US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является Контрафактом, т.к. не зарегистрирована к применению на территории РФ (мелкая фасовка)</a:t>
            </a:r>
            <a:endParaRPr lang="ru-RU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8DD2AE1-2EBB-7D21-14A4-38413ADC69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638" y="132067"/>
            <a:ext cx="4702395" cy="35488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6676520-047D-5E35-1267-943D4D766F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830" y="2789109"/>
            <a:ext cx="3737223" cy="39368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A4AA23A-0CFA-0F77-EB6F-EF88AC8FB6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6657" y="2585493"/>
            <a:ext cx="5245370" cy="15685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331C8CB-0583-5343-EC35-AA2D78BCC5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4830" y="4152736"/>
            <a:ext cx="4711942" cy="265443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E0979BB-3F89-12A0-B580-F85836F0DF68}"/>
              </a:ext>
            </a:extLst>
          </p:cNvPr>
          <p:cNvSpPr txBox="1"/>
          <p:nvPr/>
        </p:nvSpPr>
        <p:spPr bwMode="gray">
          <a:xfrm>
            <a:off x="10145650" y="3286247"/>
            <a:ext cx="1782663" cy="3225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sz="28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имер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Обратная связь от потребителей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и ответ продавца на 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WB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одтверждает противоправные деяния и нарушении Законодательства РФ</a:t>
            </a:r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7C5B38E-6792-E482-525A-FD37FF2E70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70325" y="2789108"/>
            <a:ext cx="2205629" cy="192342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151D6F9-D836-8DBB-6FDB-42B04410B395}"/>
              </a:ext>
            </a:extLst>
          </p:cNvPr>
          <p:cNvSpPr txBox="1"/>
          <p:nvPr/>
        </p:nvSpPr>
        <p:spPr bwMode="gray">
          <a:xfrm>
            <a:off x="4019345" y="5095568"/>
            <a:ext cx="991314" cy="564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Arial"/>
                <a:cs typeface="Arial"/>
              </a:rPr>
              <a:t>541 товар</a:t>
            </a:r>
          </a:p>
        </p:txBody>
      </p:sp>
      <p:sp>
        <p:nvSpPr>
          <p:cNvPr id="17" name="Облачко с текстом: прямоугольное со скругленными углами 16">
            <a:extLst>
              <a:ext uri="{FF2B5EF4-FFF2-40B4-BE49-F238E27FC236}">
                <a16:creationId xmlns:a16="http://schemas.microsoft.com/office/drawing/2014/main" id="{A48A25BD-9225-95AB-77E6-3E560BA21424}"/>
              </a:ext>
            </a:extLst>
          </p:cNvPr>
          <p:cNvSpPr/>
          <p:nvPr/>
        </p:nvSpPr>
        <p:spPr bwMode="gray">
          <a:xfrm>
            <a:off x="3799771" y="4244889"/>
            <a:ext cx="626771" cy="564023"/>
          </a:xfrm>
          <a:prstGeom prst="wedgeRoundRectCallout">
            <a:avLst>
              <a:gd name="adj1" fmla="val 44614"/>
              <a:gd name="adj2" fmla="val 83712"/>
              <a:gd name="adj3" fmla="val 16667"/>
            </a:avLst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236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1</a:t>
            </a:fld>
            <a:endParaRPr lang="en-US" dirty="0">
              <a:solidFill>
                <a:srgbClr val="00BCFF"/>
              </a:solidFill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428611-3E1A-B8D9-6E96-E54C629135A2}"/>
              </a:ext>
            </a:extLst>
          </p:cNvPr>
          <p:cNvSpPr txBox="1"/>
          <p:nvPr/>
        </p:nvSpPr>
        <p:spPr bwMode="gray">
          <a:xfrm>
            <a:off x="5692294" y="132067"/>
            <a:ext cx="6007693" cy="2414580"/>
          </a:xfrm>
          <a:prstGeom prst="rect">
            <a:avLst/>
          </a:prstGeom>
          <a:noFill/>
          <a:ln w="57150">
            <a:solidFill>
              <a:srgbClr val="D30F4B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1964F9-503C-E34E-F1BB-EB30E1E8C200}"/>
              </a:ext>
            </a:extLst>
          </p:cNvPr>
          <p:cNvSpPr txBox="1"/>
          <p:nvPr/>
        </p:nvSpPr>
        <p:spPr bwMode="gray">
          <a:xfrm>
            <a:off x="5715499" y="241584"/>
            <a:ext cx="5830664" cy="22281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Arial"/>
                <a:cs typeface="Arial"/>
              </a:rPr>
              <a:t>    </a:t>
            </a:r>
            <a:r>
              <a:rPr lang="en-US" b="1" dirty="0">
                <a:solidFill>
                  <a:srgbClr val="FF0000"/>
                </a:solidFill>
                <a:latin typeface="Arial"/>
                <a:cs typeface="Arial"/>
              </a:rPr>
              <a:t>WB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продавец </a:t>
            </a:r>
            <a:r>
              <a:rPr lang="ru-RU" b="1" dirty="0" err="1">
                <a:solidFill>
                  <a:srgbClr val="FF0000"/>
                </a:solidFill>
                <a:latin typeface="Arial"/>
                <a:cs typeface="Arial"/>
              </a:rPr>
              <a:t>фэсАгро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                                      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ИП </a:t>
            </a:r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Геворгян Геворг Аршавирович</a:t>
            </a:r>
          </a:p>
          <a:p>
            <a:pPr algn="ctr"/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ОГРНИП: 317237500432483</a:t>
            </a:r>
          </a:p>
          <a:p>
            <a:pPr algn="ctr"/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ИНН: 231491107366</a:t>
            </a:r>
          </a:p>
          <a:p>
            <a:pPr algn="ctr"/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Номер регистрации: 231491107366</a:t>
            </a: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едлагаемая продукция бренда «</a:t>
            </a:r>
            <a:r>
              <a:rPr lang="en-US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BAYER</a:t>
            </a:r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»</a:t>
            </a:r>
            <a:endParaRPr lang="en-US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едположительно является Контрафактом, т.к. данный продавец не является дистрибьютором АО БАЙЕР</a:t>
            </a:r>
            <a:endParaRPr lang="ru-RU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E0979BB-3F89-12A0-B580-F85836F0DF68}"/>
              </a:ext>
            </a:extLst>
          </p:cNvPr>
          <p:cNvSpPr txBox="1"/>
          <p:nvPr/>
        </p:nvSpPr>
        <p:spPr bwMode="gray">
          <a:xfrm>
            <a:off x="10137852" y="3286247"/>
            <a:ext cx="1790460" cy="32256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sz="28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имер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Обратная связь от потребителя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на 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WB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одтверждает противоправные деяния и нарушении Законодательства РФ</a:t>
            </a:r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51D6F9-D836-8DBB-6FDB-42B04410B395}"/>
              </a:ext>
            </a:extLst>
          </p:cNvPr>
          <p:cNvSpPr txBox="1"/>
          <p:nvPr/>
        </p:nvSpPr>
        <p:spPr bwMode="gray">
          <a:xfrm>
            <a:off x="1799174" y="5506731"/>
            <a:ext cx="991314" cy="564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  <a:highlight>
                  <a:srgbClr val="FFFF00"/>
                </a:highlight>
                <a:latin typeface="Arial"/>
                <a:cs typeface="Arial"/>
              </a:rPr>
              <a:t>186</a:t>
            </a:r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Arial"/>
                <a:cs typeface="Arial"/>
              </a:rPr>
              <a:t> товаров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E663699-3A17-44F7-6F4B-93474162B6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637" y="132068"/>
            <a:ext cx="5125316" cy="275544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06C30D0-C695-6812-83DB-C9E7EEC92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64" y="2766060"/>
            <a:ext cx="3650545" cy="23408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7" name="Облачко с текстом: прямоугольное со скругленными углами 16">
            <a:extLst>
              <a:ext uri="{FF2B5EF4-FFF2-40B4-BE49-F238E27FC236}">
                <a16:creationId xmlns:a16="http://schemas.microsoft.com/office/drawing/2014/main" id="{A48A25BD-9225-95AB-77E6-3E560BA21424}"/>
              </a:ext>
            </a:extLst>
          </p:cNvPr>
          <p:cNvSpPr/>
          <p:nvPr/>
        </p:nvSpPr>
        <p:spPr bwMode="gray">
          <a:xfrm>
            <a:off x="1787465" y="4617060"/>
            <a:ext cx="751431" cy="564023"/>
          </a:xfrm>
          <a:prstGeom prst="wedgeRoundRectCallout">
            <a:avLst>
              <a:gd name="adj1" fmla="val 10496"/>
              <a:gd name="adj2" fmla="val 95833"/>
              <a:gd name="adj3" fmla="val 16667"/>
            </a:avLst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CEDECC5-6A92-51C8-95E2-F77341B14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2081" y="4592343"/>
            <a:ext cx="2159111" cy="180984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30652A7-E3B8-A60A-C4E1-205E06ED3F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1953" y="3635934"/>
            <a:ext cx="4622932" cy="196225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3930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B6835850-4AC2-4E8D-6CD0-82005541F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b="1" i="0" dirty="0"/>
              <a:t>Предложения</a:t>
            </a:r>
            <a:br>
              <a:rPr lang="ru-RU" sz="3200" b="1" i="0" dirty="0"/>
            </a:br>
            <a:r>
              <a:rPr lang="ru-RU" sz="3200" b="1" i="0" dirty="0"/>
              <a:t>бренд «</a:t>
            </a:r>
            <a:r>
              <a:rPr lang="en-US" sz="3200" b="1" i="0" dirty="0"/>
              <a:t>BAYER</a:t>
            </a:r>
            <a:r>
              <a:rPr lang="ru-RU" sz="3200" b="1" i="0" dirty="0"/>
              <a:t>»</a:t>
            </a:r>
            <a:br>
              <a:rPr lang="ru-RU" sz="3200" b="1" i="0" dirty="0"/>
            </a:br>
            <a:endParaRPr lang="ru-RU" sz="3200" b="1" i="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172C915-07F7-CD3A-72C8-784A5813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8" name="Подзаголовок 7">
            <a:extLst>
              <a:ext uri="{FF2B5EF4-FFF2-40B4-BE49-F238E27FC236}">
                <a16:creationId xmlns:a16="http://schemas.microsoft.com/office/drawing/2014/main" id="{20620A36-2BD2-4C9F-F6A4-EFA0F08039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50992" y="3064854"/>
            <a:ext cx="5906193" cy="720000"/>
          </a:xfrm>
        </p:spPr>
        <p:txBody>
          <a:bodyPr/>
          <a:lstStyle/>
          <a:p>
            <a:r>
              <a:rPr lang="en-US" sz="4800" dirty="0"/>
              <a:t>MARKET. YANDEX </a:t>
            </a: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424184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a14="http://schemas.microsoft.com/office/drawing/2010/main"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3</a:t>
            </a:fld>
            <a:endParaRPr lang="en-US" dirty="0">
              <a:solidFill>
                <a:srgbClr val="00BCFF"/>
              </a:solidFill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428611-3E1A-B8D9-6E96-E54C629135A2}"/>
              </a:ext>
            </a:extLst>
          </p:cNvPr>
          <p:cNvSpPr txBox="1"/>
          <p:nvPr/>
        </p:nvSpPr>
        <p:spPr bwMode="gray">
          <a:xfrm>
            <a:off x="5692294" y="132067"/>
            <a:ext cx="6007693" cy="1312685"/>
          </a:xfrm>
          <a:prstGeom prst="rect">
            <a:avLst/>
          </a:prstGeom>
          <a:noFill/>
          <a:ln w="57150">
            <a:solidFill>
              <a:srgbClr val="D30F4B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1964F9-503C-E34E-F1BB-EB30E1E8C200}"/>
              </a:ext>
            </a:extLst>
          </p:cNvPr>
          <p:cNvSpPr txBox="1"/>
          <p:nvPr/>
        </p:nvSpPr>
        <p:spPr bwMode="gray">
          <a:xfrm>
            <a:off x="5715499" y="241585"/>
            <a:ext cx="5830664" cy="12031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Arial"/>
                <a:cs typeface="Arial"/>
              </a:rPr>
              <a:t>    </a:t>
            </a:r>
            <a:r>
              <a:rPr lang="en-US" b="1" dirty="0">
                <a:solidFill>
                  <a:srgbClr val="FF0000"/>
                </a:solidFill>
                <a:latin typeface="Arial"/>
                <a:cs typeface="Arial"/>
              </a:rPr>
              <a:t>MY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продавец 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ИП </a:t>
            </a:r>
            <a:r>
              <a:rPr lang="ru-RU" dirty="0" err="1">
                <a:solidFill>
                  <a:srgbClr val="242424"/>
                </a:solidFill>
                <a:latin typeface="system"/>
                <a:cs typeface="Arial"/>
              </a:rPr>
              <a:t>Узакбаева</a:t>
            </a:r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 Ольга Вячеславовна</a:t>
            </a:r>
          </a:p>
          <a:p>
            <a:pPr algn="ctr"/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ОГРНИП: 316774600266510</a:t>
            </a: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Информация о продавце ограничена</a:t>
            </a:r>
            <a:endParaRPr lang="ru-RU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E0979BB-3F89-12A0-B580-F85836F0DF68}"/>
              </a:ext>
            </a:extLst>
          </p:cNvPr>
          <p:cNvSpPr txBox="1"/>
          <p:nvPr/>
        </p:nvSpPr>
        <p:spPr bwMode="gray">
          <a:xfrm>
            <a:off x="8494880" y="1851982"/>
            <a:ext cx="3332952" cy="32461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Вся представленная продукция на 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MY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од брендом 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BAYER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расфасована в пакеты или мелкую тару, что является нарушением.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Использование Товарного Знака и ссылки на официальную регистрацию Декларации соответствия - есть прямое нарушение  прав правообладателя и 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одтверждает противоправные деяния и нарушении Законодательства РФ</a:t>
            </a:r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A7E3C54-E79E-F7D7-9F72-73ADD3946F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869" y="141855"/>
            <a:ext cx="4902978" cy="365626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760FA21-99FC-2220-7615-2DFFCF7265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869" y="3798123"/>
            <a:ext cx="4032761" cy="305987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DF91650-5AF8-2408-0D24-AC4B79547F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1851" y="3059877"/>
            <a:ext cx="1866996" cy="14097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F5FF499-377C-4DAF-2231-69C0E4D8A6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1698" y="1668462"/>
            <a:ext cx="2850331" cy="280118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3386C30-F0C2-66C9-91DA-B96B2B321C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3404" y="3429000"/>
            <a:ext cx="1593954" cy="333820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58F2919-B596-7562-6B01-37DDA77134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67358" y="5314598"/>
            <a:ext cx="4934204" cy="1301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30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8DD30A-C9F8-4967-9172-86F7E0657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>
                <a:solidFill>
                  <a:srgbClr val="00BCFF"/>
                </a:solidFill>
                <a:latin typeface="Arial"/>
                <a:cs typeface="Arial"/>
              </a:rPr>
              <a:pPr/>
              <a:t>24</a:t>
            </a:fld>
            <a:endParaRPr lang="en-US" dirty="0">
              <a:solidFill>
                <a:srgbClr val="00BCFF"/>
              </a:solidFill>
              <a:latin typeface="Arial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428611-3E1A-B8D9-6E96-E54C629135A2}"/>
              </a:ext>
            </a:extLst>
          </p:cNvPr>
          <p:cNvSpPr txBox="1"/>
          <p:nvPr/>
        </p:nvSpPr>
        <p:spPr bwMode="gray">
          <a:xfrm>
            <a:off x="5692294" y="132067"/>
            <a:ext cx="6007693" cy="1312685"/>
          </a:xfrm>
          <a:prstGeom prst="rect">
            <a:avLst/>
          </a:prstGeom>
          <a:noFill/>
          <a:ln w="57150">
            <a:solidFill>
              <a:srgbClr val="D30F4B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1964F9-503C-E34E-F1BB-EB30E1E8C200}"/>
              </a:ext>
            </a:extLst>
          </p:cNvPr>
          <p:cNvSpPr txBox="1"/>
          <p:nvPr/>
        </p:nvSpPr>
        <p:spPr bwMode="gray">
          <a:xfrm>
            <a:off x="5715499" y="241585"/>
            <a:ext cx="5830664" cy="12031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Arial"/>
                <a:cs typeface="Arial"/>
              </a:rPr>
              <a:t>    </a:t>
            </a:r>
            <a:r>
              <a:rPr lang="en-US" b="1" dirty="0">
                <a:solidFill>
                  <a:srgbClr val="FF0000"/>
                </a:solidFill>
                <a:latin typeface="Arial"/>
                <a:cs typeface="Arial"/>
              </a:rPr>
              <a:t>MY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 –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продавец </a:t>
            </a: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ИП </a:t>
            </a:r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Новак Валерия Васильевна</a:t>
            </a:r>
          </a:p>
          <a:p>
            <a:pPr algn="ctr"/>
            <a:r>
              <a:rPr lang="ru-RU" dirty="0">
                <a:solidFill>
                  <a:srgbClr val="242424"/>
                </a:solidFill>
                <a:latin typeface="system"/>
                <a:cs typeface="Arial"/>
              </a:rPr>
              <a:t>ОГРНИП: 321508100120969</a:t>
            </a:r>
          </a:p>
          <a:p>
            <a:pPr algn="ctr"/>
            <a:r>
              <a:rPr lang="ru-RU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Информация о продавце ограничена</a:t>
            </a:r>
            <a:endParaRPr lang="ru-RU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E0979BB-3F89-12A0-B580-F85836F0DF68}"/>
              </a:ext>
            </a:extLst>
          </p:cNvPr>
          <p:cNvSpPr txBox="1"/>
          <p:nvPr/>
        </p:nvSpPr>
        <p:spPr bwMode="gray">
          <a:xfrm>
            <a:off x="5692294" y="1652208"/>
            <a:ext cx="6144280" cy="17736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GTEestiPro"/>
              <a:cs typeface="Arial"/>
            </a:endParaRPr>
          </a:p>
          <a:p>
            <a:pPr algn="ctr"/>
            <a:r>
              <a:rPr lang="ru-RU" sz="28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имер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Обратная связь от потребителя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на 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MY 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указывает, что товар под брендом </a:t>
            </a:r>
            <a:r>
              <a:rPr lang="en-US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BAYER –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есть подделка/контрафакт. 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GTEestiPro"/>
                <a:cs typeface="Arial"/>
              </a:rPr>
              <a:t>Продавец нарушает права Правообладателя и  Законодательство РФ</a:t>
            </a:r>
            <a:endParaRPr lang="ru-RU" sz="1600" b="1" dirty="0">
              <a:solidFill>
                <a:srgbClr val="FF0000"/>
              </a:solidFill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C9E128D-8A5A-E8BC-D22D-EB4E9C291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869" y="64008"/>
            <a:ext cx="4696480" cy="325800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0E18221-E21D-4244-9C6F-19AE051B01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3819" y="1693010"/>
            <a:ext cx="1809843" cy="13399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8ECB7C-4959-A341-1338-245CDD4675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869" y="3425813"/>
            <a:ext cx="4877708" cy="324612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8700C56-C6A8-1898-2596-F2A8FD6767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0219" y="3617467"/>
            <a:ext cx="6466355" cy="263696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32301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3F4D0A8B-BC04-E229-93D7-43B58DCAFF34}"/>
              </a:ext>
            </a:extLst>
          </p:cNvPr>
          <p:cNvSpPr txBox="1"/>
          <p:nvPr/>
        </p:nvSpPr>
        <p:spPr>
          <a:xfrm>
            <a:off x="530371" y="549746"/>
            <a:ext cx="560602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Основные виды нелегальной продукции под брендами </a:t>
            </a:r>
            <a:r>
              <a:rPr lang="en-US" sz="2400" dirty="0"/>
              <a:t>Syngenta</a:t>
            </a:r>
            <a:r>
              <a:rPr lang="ru-RU" sz="2400" dirty="0"/>
              <a:t>, предлагаемые на различных маркетплейсах:</a:t>
            </a:r>
          </a:p>
          <a:p>
            <a:endParaRPr lang="ru-RU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онтрафактная продукция (отсутствие/несоответствие номера партии и даты производства продукции, отличия в упаковке)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6A72FCC-1591-7084-AA04-27371DEACE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014" y="3292246"/>
            <a:ext cx="6366483" cy="284144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2DE4F2F-C0C5-8D00-411B-E8DDC22BD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446202"/>
            <a:ext cx="5606020" cy="2607744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A79D93E-3EBD-A4F5-1756-F20783818D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43453" y="2500183"/>
            <a:ext cx="4392722" cy="2607743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51C5DD1-58C5-2EF6-2114-4D29B7BE9CC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1130"/>
          <a:stretch/>
        </p:blipFill>
        <p:spPr>
          <a:xfrm>
            <a:off x="5055380" y="4291050"/>
            <a:ext cx="2433555" cy="2120747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56304FEE-9451-C172-A250-6037E97F074E}"/>
              </a:ext>
            </a:extLst>
          </p:cNvPr>
          <p:cNvSpPr/>
          <p:nvPr/>
        </p:nvSpPr>
        <p:spPr>
          <a:xfrm>
            <a:off x="7723411" y="3215811"/>
            <a:ext cx="4312764" cy="162331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4297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C12D0EC-B824-0D49-C873-A4DA27361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579" y="2855483"/>
            <a:ext cx="6526701" cy="3180584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F4D0A8B-BC04-E229-93D7-43B58DCAFF34}"/>
              </a:ext>
            </a:extLst>
          </p:cNvPr>
          <p:cNvSpPr txBox="1"/>
          <p:nvPr/>
        </p:nvSpPr>
        <p:spPr>
          <a:xfrm>
            <a:off x="472611" y="821933"/>
            <a:ext cx="52295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Ручная расфасовка, в том числе с незаконным использованием на этикетке товарного знака «</a:t>
            </a:r>
            <a:r>
              <a:rPr lang="en-US" dirty="0"/>
              <a:t>Syngenta</a:t>
            </a:r>
            <a:r>
              <a:rPr lang="ru-RU" dirty="0"/>
              <a:t>» и отсутствием обязательной информации о продукции (номер партии, дата производства, производитель, класс опасности)</a:t>
            </a:r>
            <a:endParaRPr lang="en-US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62A8C95-EF1F-DCD8-163A-7FCF220AC3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4229" y="483218"/>
            <a:ext cx="5969271" cy="2945782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9A301FF-4C7D-3913-37AB-58AED94CA8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84990" y="3500857"/>
            <a:ext cx="4876800" cy="253521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697490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E1E68CB-71C2-7766-71A0-D4A46A4098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8688" y="3408577"/>
            <a:ext cx="5649552" cy="2898649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F4D0A8B-BC04-E229-93D7-43B58DCAFF34}"/>
              </a:ext>
            </a:extLst>
          </p:cNvPr>
          <p:cNvSpPr txBox="1"/>
          <p:nvPr/>
        </p:nvSpPr>
        <p:spPr>
          <a:xfrm>
            <a:off x="348183" y="393980"/>
            <a:ext cx="53181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родукция, не предназначенная для реализации на рынке РФ (этикетки на иностранном языке, отсутствие обязательной регистрации продукта для реализации на территории РФ)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A661064-A36A-29C9-352F-8868B816CC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760" y="1589431"/>
            <a:ext cx="5442595" cy="2541720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FAE928A-9C3C-6068-2D83-61A1DF4BF5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94625" y="328327"/>
            <a:ext cx="5575805" cy="2531964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47B1CFA-CE37-C5E7-B275-037BEF5502E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2492"/>
          <a:stretch/>
        </p:blipFill>
        <p:spPr>
          <a:xfrm>
            <a:off x="9722879" y="1058168"/>
            <a:ext cx="2245361" cy="2259048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717A56B-390C-2A65-6EF3-92BAF27582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592" y="4131151"/>
            <a:ext cx="4542929" cy="2462356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42AB521-C327-0DA0-642B-7CD86F7D16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2122" y="4326489"/>
            <a:ext cx="1739167" cy="2462356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48302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3F4D0A8B-BC04-E229-93D7-43B58DCAFF34}"/>
              </a:ext>
            </a:extLst>
          </p:cNvPr>
          <p:cNvSpPr txBox="1"/>
          <p:nvPr/>
        </p:nvSpPr>
        <p:spPr>
          <a:xfrm>
            <a:off x="2859639" y="433214"/>
            <a:ext cx="6472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/>
              <a:t>Объем предложений продукции под брендами </a:t>
            </a:r>
            <a:r>
              <a:rPr lang="en-US" sz="2400" dirty="0"/>
              <a:t>Syngenta</a:t>
            </a:r>
            <a:r>
              <a:rPr lang="ru-RU" sz="2400" dirty="0"/>
              <a:t> на</a:t>
            </a:r>
            <a:r>
              <a:rPr lang="en-US" sz="2400" dirty="0"/>
              <a:t> </a:t>
            </a:r>
            <a:r>
              <a:rPr lang="ru-RU" sz="2400" dirty="0"/>
              <a:t>различных маркет плейсах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DA255EA-A974-F80E-6D81-BFF6899D4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128" y="1448657"/>
            <a:ext cx="5483644" cy="2599148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9E00ED1-D6FB-9139-3F08-C1280985D1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4947" y="4149464"/>
            <a:ext cx="5483644" cy="2519757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4E7AD04-B447-E19C-BC36-7E5755ED3E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8046" y="1910264"/>
            <a:ext cx="6376826" cy="2885252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</a:schemeClr>
            </a:solidFill>
          </a:ln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53E35BA8-A51C-43A0-11BB-DDE7C80704BD}"/>
              </a:ext>
            </a:extLst>
          </p:cNvPr>
          <p:cNvSpPr/>
          <p:nvPr/>
        </p:nvSpPr>
        <p:spPr>
          <a:xfrm>
            <a:off x="852755" y="2005244"/>
            <a:ext cx="1181528" cy="42124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D3869097-8364-28AB-3DD1-32C6A163C8CE}"/>
              </a:ext>
            </a:extLst>
          </p:cNvPr>
          <p:cNvSpPr/>
          <p:nvPr/>
        </p:nvSpPr>
        <p:spPr>
          <a:xfrm>
            <a:off x="5935707" y="2512641"/>
            <a:ext cx="1418878" cy="51722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68C5070C-2C3B-75BC-35E7-39DE39B80BEA}"/>
              </a:ext>
            </a:extLst>
          </p:cNvPr>
          <p:cNvSpPr/>
          <p:nvPr/>
        </p:nvSpPr>
        <p:spPr>
          <a:xfrm>
            <a:off x="1590071" y="4599853"/>
            <a:ext cx="5483643" cy="66921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4771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3074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3F4D0A8B-BC04-E229-93D7-43B58DCAFF34}"/>
              </a:ext>
            </a:extLst>
          </p:cNvPr>
          <p:cNvSpPr txBox="1"/>
          <p:nvPr/>
        </p:nvSpPr>
        <p:spPr>
          <a:xfrm>
            <a:off x="3564835" y="617688"/>
            <a:ext cx="480909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едложения нелегальной продукции на различных маркетплейсах: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Контрафактная продукция (отсутствие/несоответствие номера партии и даты производства продукции)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Не соответствие оригинальной упаковке и фасовке (ручная расфасовка с незаконным использованием на этикетке товарного знака «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BASF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»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Продажа товаров снятых с производства компанией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BASF (инсектициды: Би 58, Регент, </a:t>
            </a:r>
            <a:r>
              <a: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Масай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)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FC5C08E-7EB2-809E-8C52-49E441913A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87" t="23371" r="66208" b="19401"/>
          <a:stretch/>
        </p:blipFill>
        <p:spPr>
          <a:xfrm>
            <a:off x="9231539" y="617688"/>
            <a:ext cx="2246813" cy="314389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5EC11EE-9667-D486-887A-1D34A37DFC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6180" t="14082" r="32837" b="9363"/>
          <a:stretch/>
        </p:blipFill>
        <p:spPr>
          <a:xfrm>
            <a:off x="1042523" y="480316"/>
            <a:ext cx="1664703" cy="3143893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8ECE90D-C0CB-45B3-D06A-980F46117DF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106" t="21273" r="40252" b="31535"/>
          <a:stretch/>
        </p:blipFill>
        <p:spPr>
          <a:xfrm>
            <a:off x="1114598" y="3838326"/>
            <a:ext cx="4279335" cy="266401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8B90948-A7DE-A3E1-0777-76EAB5180E7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770" t="34906" r="35281" b="9007"/>
          <a:stretch/>
        </p:blipFill>
        <p:spPr>
          <a:xfrm>
            <a:off x="6462445" y="4034008"/>
            <a:ext cx="4051443" cy="2665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192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9DF9BEC-2CC4-FC5D-66E1-9E541B31A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893" y="-16645"/>
            <a:ext cx="10515600" cy="1325563"/>
          </a:xfrm>
        </p:spPr>
        <p:txBody>
          <a:bodyPr/>
          <a:lstStyle/>
          <a:p>
            <a:r>
              <a:rPr lang="ru-RU" dirty="0"/>
              <a:t>Основные вопросы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ED0D66-D567-0009-68F4-81DCF0693684}"/>
              </a:ext>
            </a:extLst>
          </p:cNvPr>
          <p:cNvSpPr txBox="1"/>
          <p:nvPr/>
        </p:nvSpPr>
        <p:spPr>
          <a:xfrm>
            <a:off x="252667" y="1192776"/>
            <a:ext cx="115214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/>
              <a:t>Проанализировали два продукта </a:t>
            </a:r>
            <a:r>
              <a:rPr lang="ru-RU" b="1" dirty="0"/>
              <a:t>Регент</a:t>
            </a:r>
            <a:r>
              <a:rPr lang="ru-RU" dirty="0"/>
              <a:t> и </a:t>
            </a:r>
            <a:r>
              <a:rPr lang="ru-RU" b="1" dirty="0"/>
              <a:t>Би 58</a:t>
            </a:r>
            <a:r>
              <a:rPr lang="ru-RU" dirty="0"/>
              <a:t> по наличию и продаже на всех площадках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/>
              <a:t>Данные продукты сняты с производства и не продаются</a:t>
            </a:r>
            <a:r>
              <a:rPr lang="en-US" dirty="0"/>
              <a:t> </a:t>
            </a:r>
            <a:r>
              <a:rPr lang="ru-RU" dirty="0"/>
              <a:t>в 2024 году на территории России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/>
              <a:t>Разнообразие обнаруженных подделок поразило..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</p:txBody>
      </p:sp>
      <p:pic>
        <p:nvPicPr>
          <p:cNvPr id="1066" name="Picture 42">
            <a:extLst>
              <a:ext uri="{FF2B5EF4-FFF2-40B4-BE49-F238E27FC236}">
                <a16:creationId xmlns:a16="http://schemas.microsoft.com/office/drawing/2014/main" id="{8E1F6B61-9824-5917-AAD3-A3F9685126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667" y="2862128"/>
            <a:ext cx="2902013" cy="3886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44">
            <a:extLst>
              <a:ext uri="{FF2B5EF4-FFF2-40B4-BE49-F238E27FC236}">
                <a16:creationId xmlns:a16="http://schemas.microsoft.com/office/drawing/2014/main" id="{431DF55C-B588-66DD-B7B7-70D8C6F568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650" y="2815899"/>
            <a:ext cx="2977134" cy="3859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>
            <a:extLst>
              <a:ext uri="{FF2B5EF4-FFF2-40B4-BE49-F238E27FC236}">
                <a16:creationId xmlns:a16="http://schemas.microsoft.com/office/drawing/2014/main" id="{3B6D7ED2-ABDA-D3EB-1E70-C8CFB877B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322" y="2778759"/>
            <a:ext cx="2977134" cy="3969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0254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IAAAAAAAAAAwAAAAMAAAAA/////wQAJwwAAAAAAAAAAAAAIAD///////////////8AAAD///////////////8DAAAAAgD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6fKirLKSJEhwdovioeDQ8FAAAAAAADAAAAAAADAAAAAwADAAAAAAADAAAAAwADAAMA////////BAAAAAMAEAALjxdfeSiKKUiRFO+LE7hIeQUAAAABAAMAAAACAAMAAAABAAMAAAAC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G6fKirLKSJEhwdovioeDQ8DRGF0YQAbAAAABExpbmtlZFNoYXBlRGF0YQAFAAAAAAACTmFtZQAZAAAATGlua2VkU2hhcGVzRGF0YVByb3BlcnR5ABBWZXJzaW9uAAAAAAAJTGFzdFdyaXRlAP34onuOAQAAAAEA/////8YAxgAAAAVfaWQAEAAAAASPF195KIopSJEU74sTuEh5A0RhdGEAUwAAAAhQcmVzZW50YXRpb25TY2FubmVkRm9yTGlua2VkU2hhcGVzAAECTnVtYmVyRm9ybWF0U2VwYXJhdG9yTW9kZQAKAAAAQXV0b21hdGljAAACTmFtZQAkAAAATGlua2VkU2hhcGVQcmVzZW50YXRpb25TZXR0aW5nc0RhdGEAEFZlcnNpb24AAAAAAAlMYXN0V3JpdGUAZ/qie4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470680624024210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06612b7-7cda-4c66-a943-3c88b56a92d2"/>
  <p:tag name="MIO_UPDATE" val="True"/>
  <p:tag name="MIO_DBID" val="8E7267AE-489F-4B02-8040-8A98451BF141"/>
  <p:tag name="MIO_OBJECTNAME" val="Master Bayer AG 16:9"/>
  <p:tag name="MIO_FALLBACK_LAYOUT" val="11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False"/>
  <p:tag name="MIO_MATCH_COLOR_SCHEME" val="False"/>
  <p:tag name="MIO_NUMBER_OF_VALID_LAYOUTS" val="18"/>
  <p:tag name="MIO_VERSION" val="01.03.2023 14:18:55"/>
  <p:tag name="MIO_LASTDOWNLOADED" val="26.01.2024 09:03:48.034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Default Theme.pptx" id="{52C6A132-89E6-4959-BF59-370BFE6B31DE}" vid="{DB2089AC-DBDD-4706-8A4A-7D0059F54839}"/>
    </a:ext>
  </a:extLst>
</a:theme>
</file>

<file path=ppt/theme/theme3.xml><?xml version="1.0" encoding="utf-8"?>
<a:theme xmlns:a="http://schemas.openxmlformats.org/drawingml/2006/main" name="BASF_Finale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F_Finale_V10" id="{03DD7B2E-C5B6-4C75-BDCC-F89119E3C33D}" vid="{A04FD191-080D-494D-B2DB-800F6FA11398}"/>
    </a:ext>
  </a:extLst>
</a:theme>
</file>

<file path=ppt/theme/theme4.xml><?xml version="1.0" encoding="utf-8"?>
<a:theme xmlns:a="http://schemas.openxmlformats.org/drawingml/2006/main" name="16_Office Theme">
  <a:themeElements>
    <a:clrScheme name="Bayer TB-pairs">
      <a:dk1>
        <a:sysClr val="windowText" lastClr="000000"/>
      </a:dk1>
      <a:lt1>
        <a:sysClr val="window" lastClr="FFFFFF"/>
      </a:lt1>
      <a:dk2>
        <a:srgbClr val="10384F"/>
      </a:dk2>
      <a:lt2>
        <a:srgbClr val="E7E6E6"/>
      </a:lt2>
      <a:accent1>
        <a:srgbClr val="10384F"/>
      </a:accent1>
      <a:accent2>
        <a:srgbClr val="00BCFF"/>
      </a:accent2>
      <a:accent3>
        <a:srgbClr val="2B6636"/>
      </a:accent3>
      <a:accent4>
        <a:srgbClr val="89D329"/>
      </a:accent4>
      <a:accent5>
        <a:srgbClr val="443247"/>
      </a:accent5>
      <a:accent6>
        <a:srgbClr val="FF3162"/>
      </a:accent6>
      <a:hlink>
        <a:srgbClr val="00617F"/>
      </a:hlink>
      <a:folHlink>
        <a:srgbClr val="2B663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ayer Dark Blue">
      <a:srgbClr val="10384F"/>
    </a:custClr>
    <a:custClr name="Bayer Mid Blue">
      <a:srgbClr val="00617F"/>
    </a:custClr>
    <a:custClr name="Bayer Blue">
      <a:srgbClr val="0091DF"/>
    </a:custClr>
    <a:custClr name="Bayer Bright Blue">
      <a:srgbClr val="00BCFF"/>
    </a:custClr>
    <a:custClr name="Bayer Dark Green">
      <a:srgbClr val="004422"/>
    </a:custClr>
    <a:custClr name="Bayer Mid Green">
      <a:srgbClr val="2B6636"/>
    </a:custClr>
    <a:custClr name="Bayer Green">
      <a:srgbClr val="66B512"/>
    </a:custClr>
    <a:custClr name="Bayer Bright Green">
      <a:srgbClr val="89D329"/>
    </a:custClr>
    <a:custClr name="Bayer Dark Purple">
      <a:srgbClr val="443247"/>
    </a:custClr>
    <a:custClr name="Bayer Mid Purple">
      <a:srgbClr val="624963"/>
    </a:custClr>
    <a:custClr name="Bayer Raspberry">
      <a:srgbClr val="D30F4B"/>
    </a:custClr>
    <a:custClr name="Bayer Fuchsia">
      <a:srgbClr val="FF3162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0</Words>
  <Application>Microsoft Office PowerPoint</Application>
  <PresentationFormat>Widescreen</PresentationFormat>
  <Paragraphs>91</Paragraphs>
  <Slides>2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8" baseType="lpstr">
      <vt:lpstr>Arial</vt:lpstr>
      <vt:lpstr>Calibri</vt:lpstr>
      <vt:lpstr>Calibri Light</vt:lpstr>
      <vt:lpstr>GTEestiPro</vt:lpstr>
      <vt:lpstr>Helvetica</vt:lpstr>
      <vt:lpstr>system</vt:lpstr>
      <vt:lpstr>Tahoma</vt:lpstr>
      <vt:lpstr>Times New Roman</vt:lpstr>
      <vt:lpstr>Wingdings</vt:lpstr>
      <vt:lpstr>Тема Office</vt:lpstr>
      <vt:lpstr>PR_BAG_PPT-master_16-9</vt:lpstr>
      <vt:lpstr>BASF_Finale_V10</vt:lpstr>
      <vt:lpstr>16_Office Theme</vt:lpstr>
      <vt:lpstr>think-cell Folie</vt:lpstr>
      <vt:lpstr>   Рабочая группа по противодействию контрафактным СЗР и семенам Комитетов производителей СЗР и производителей семян Ассоциации европейского бизнеса   Проблема контрафакта на маркетплейсах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Основные вопросы:</vt:lpstr>
      <vt:lpstr>Продажа продукции BASF имеющей признаки контрафакта</vt:lpstr>
      <vt:lpstr>Отзывы на Регент и БИ - 58</vt:lpstr>
      <vt:lpstr>Продажа продукции BASF имеющей признаки контрафакта</vt:lpstr>
      <vt:lpstr>Отзывы на Регент и БИ - 58</vt:lpstr>
      <vt:lpstr>Продажа продукции BASF имеющей признаки контрафакта</vt:lpstr>
      <vt:lpstr>PowerPoint Presentation</vt:lpstr>
      <vt:lpstr>OZON</vt:lpstr>
      <vt:lpstr>PowerPoint Presentation</vt:lpstr>
      <vt:lpstr>PowerPoint Presentation</vt:lpstr>
      <vt:lpstr>1 029 предложений бренд «BAYER» </vt:lpstr>
      <vt:lpstr>PowerPoint Presentation</vt:lpstr>
      <vt:lpstr>PowerPoint Presentation</vt:lpstr>
      <vt:lpstr>Предложения бренд «BAYER»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Trufanova Ekaterina RUMO</dc:creator>
  <cp:lastModifiedBy>yuri.fedulov@basf.com</cp:lastModifiedBy>
  <cp:revision>10</cp:revision>
  <dcterms:created xsi:type="dcterms:W3CDTF">2024-03-21T07:59:56Z</dcterms:created>
  <dcterms:modified xsi:type="dcterms:W3CDTF">2024-03-27T08:0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6530cf4-8573-4c29-a912-bbcdac835909_Enabled">
    <vt:lpwstr>true</vt:lpwstr>
  </property>
  <property fmtid="{D5CDD505-2E9C-101B-9397-08002B2CF9AE}" pid="3" name="MSIP_Label_06530cf4-8573-4c29-a912-bbcdac835909_SetDate">
    <vt:lpwstr>2024-03-25T08:32:46Z</vt:lpwstr>
  </property>
  <property fmtid="{D5CDD505-2E9C-101B-9397-08002B2CF9AE}" pid="4" name="MSIP_Label_06530cf4-8573-4c29-a912-bbcdac835909_Method">
    <vt:lpwstr>Standard</vt:lpwstr>
  </property>
  <property fmtid="{D5CDD505-2E9C-101B-9397-08002B2CF9AE}" pid="5" name="MSIP_Label_06530cf4-8573-4c29-a912-bbcdac835909_Name">
    <vt:lpwstr>06530cf4-8573-4c29-a912-bbcdac835909</vt:lpwstr>
  </property>
  <property fmtid="{D5CDD505-2E9C-101B-9397-08002B2CF9AE}" pid="6" name="MSIP_Label_06530cf4-8573-4c29-a912-bbcdac835909_SiteId">
    <vt:lpwstr>ecaa386b-c8df-4ce0-ad01-740cbdb5ba55</vt:lpwstr>
  </property>
  <property fmtid="{D5CDD505-2E9C-101B-9397-08002B2CF9AE}" pid="7" name="MSIP_Label_06530cf4-8573-4c29-a912-bbcdac835909_ActionId">
    <vt:lpwstr>d07e499e-7d2e-4aa9-b4dd-849d715190bd</vt:lpwstr>
  </property>
  <property fmtid="{D5CDD505-2E9C-101B-9397-08002B2CF9AE}" pid="8" name="MSIP_Label_06530cf4-8573-4c29-a912-bbcdac835909_ContentBits">
    <vt:lpwstr>2</vt:lpwstr>
  </property>
  <property fmtid="{D5CDD505-2E9C-101B-9397-08002B2CF9AE}" pid="9" name="MSIP_Label_2c76c141-ac86-40e5-abf2-c6f60e474cee_Enabled">
    <vt:lpwstr>true</vt:lpwstr>
  </property>
  <property fmtid="{D5CDD505-2E9C-101B-9397-08002B2CF9AE}" pid="10" name="MSIP_Label_2c76c141-ac86-40e5-abf2-c6f60e474cee_SetDate">
    <vt:lpwstr>2024-03-26T16:43:12Z</vt:lpwstr>
  </property>
  <property fmtid="{D5CDD505-2E9C-101B-9397-08002B2CF9AE}" pid="11" name="MSIP_Label_2c76c141-ac86-40e5-abf2-c6f60e474cee_Method">
    <vt:lpwstr>Standard</vt:lpwstr>
  </property>
  <property fmtid="{D5CDD505-2E9C-101B-9397-08002B2CF9AE}" pid="12" name="MSIP_Label_2c76c141-ac86-40e5-abf2-c6f60e474cee_Name">
    <vt:lpwstr>2c76c141-ac86-40e5-abf2-c6f60e474cee</vt:lpwstr>
  </property>
  <property fmtid="{D5CDD505-2E9C-101B-9397-08002B2CF9AE}" pid="13" name="MSIP_Label_2c76c141-ac86-40e5-abf2-c6f60e474cee_SiteId">
    <vt:lpwstr>fcb2b37b-5da0-466b-9b83-0014b67a7c78</vt:lpwstr>
  </property>
  <property fmtid="{D5CDD505-2E9C-101B-9397-08002B2CF9AE}" pid="14" name="MSIP_Label_2c76c141-ac86-40e5-abf2-c6f60e474cee_ActionId">
    <vt:lpwstr>37f57f66-cf93-4c9f-9beb-4e26f3ac7ec7</vt:lpwstr>
  </property>
  <property fmtid="{D5CDD505-2E9C-101B-9397-08002B2CF9AE}" pid="15" name="MSIP_Label_2c76c141-ac86-40e5-abf2-c6f60e474cee_ContentBits">
    <vt:lpwstr>2</vt:lpwstr>
  </property>
  <property fmtid="{D5CDD505-2E9C-101B-9397-08002B2CF9AE}" pid="16" name="ClassificationContentMarkingFooterLocations">
    <vt:lpwstr>Тема Office:8\PR_BAG_PPT-master_16-9:9\BASF_Finale_V10:3\16_Office Theme:7</vt:lpwstr>
  </property>
  <property fmtid="{D5CDD505-2E9C-101B-9397-08002B2CF9AE}" pid="17" name="ClassificationContentMarkingFooterText">
    <vt:lpwstr>RESTRICTED</vt:lpwstr>
  </property>
</Properties>
</file>